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8"/>
  </p:notesMasterIdLst>
  <p:handoutMasterIdLst>
    <p:handoutMasterId r:id="rId9"/>
  </p:handoutMasterIdLst>
  <p:sldIdLst>
    <p:sldId id="298" r:id="rId5"/>
    <p:sldId id="302" r:id="rId6"/>
    <p:sldId id="300" r:id="rId7"/>
  </p:sldIdLst>
  <p:sldSz cx="12192000" cy="6858000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96" autoAdjust="0"/>
    <p:restoredTop sz="94793" autoAdjust="0"/>
  </p:normalViewPr>
  <p:slideViewPr>
    <p:cSldViewPr snapToGrid="0" showGuides="1">
      <p:cViewPr varScale="1">
        <p:scale>
          <a:sx n="112" d="100"/>
          <a:sy n="112" d="100"/>
        </p:scale>
        <p:origin x="224" y="536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194"/>
    </p:cViewPr>
  </p:sorterViewPr>
  <p:notesViewPr>
    <p:cSldViewPr snapToGrid="0" showGuides="1">
      <p:cViewPr varScale="1">
        <p:scale>
          <a:sx n="97" d="100"/>
          <a:sy n="97" d="100"/>
        </p:scale>
        <p:origin x="2634" y="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281B756-25EC-4056-B093-9F7526CF29C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60DBF9-387B-47BE-9EA9-B51570CA7E7B}" type="datetimeFigureOut">
              <a:rPr lang="de-DE" sz="1000" smtClean="0">
                <a:solidFill>
                  <a:schemeClr val="tx2"/>
                </a:solidFill>
              </a:rPr>
              <a:t>30.05.25</a:t>
            </a:fld>
            <a:endParaRPr lang="de-DE" sz="1000">
              <a:solidFill>
                <a:schemeClr val="tx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174463-DF9B-4816-8928-D7AD17F33BF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81AC94-A6E6-4850-BB29-E31EB708CD3E}" type="slidenum">
              <a:rPr lang="de-DE" sz="1000" smtClean="0">
                <a:solidFill>
                  <a:schemeClr val="tx2"/>
                </a:solidFill>
              </a:rPr>
              <a:t>‹#›</a:t>
            </a:fld>
            <a:endParaRPr lang="de-DE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3163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45C0D7D-5195-4F5B-87E7-13C7BF9E7F29}" type="datetimeFigureOut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1200" y="1242000"/>
            <a:ext cx="5958400" cy="3351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400" y="477720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016D19BE-3AE1-4040-9C45-706455FE579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14029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Pa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 noChangeAspect="1"/>
          </p:cNvSpPr>
          <p:nvPr>
            <p:ph type="pic" sz="quarter" idx="16"/>
          </p:nvPr>
        </p:nvSpPr>
        <p:spPr>
          <a:xfrm>
            <a:off x="479425" y="1776413"/>
            <a:ext cx="1682750" cy="2057400"/>
          </a:xfrm>
        </p:spPr>
        <p:txBody>
          <a:bodyPr/>
          <a:lstStyle/>
          <a:p>
            <a:endParaRPr lang="de-DE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5425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30. Mai 2025</a:t>
            </a:fld>
            <a:endParaRPr lang="de-DE" dirty="0"/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1674156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2870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D69B754B-1BBB-489A-9DFA-0B5BC1ADF7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30. Ma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8329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340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E741EA5-5CD3-4B6D-A654-564CC372A38B}"/>
              </a:ext>
            </a:extLst>
          </p:cNvPr>
          <p:cNvSpPr/>
          <p:nvPr/>
        </p:nvSpPr>
        <p:spPr>
          <a:xfrm>
            <a:off x="479425" y="3726357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24766ED2-A7F5-411A-B424-BD22AAB729CD}"/>
              </a:ext>
            </a:extLst>
          </p:cNvPr>
          <p:cNvSpPr txBox="1">
            <a:spLocks/>
          </p:cNvSpPr>
          <p:nvPr/>
        </p:nvSpPr>
        <p:spPr>
          <a:xfrm>
            <a:off x="479425" y="3120518"/>
            <a:ext cx="9180513" cy="4985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baseline="0">
                <a:solidFill>
                  <a:schemeClr val="tx1"/>
                </a:solidFill>
                <a:latin typeface="+mn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r>
              <a:rPr lang="de-DE" dirty="0"/>
              <a:t>kontakt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1DDDB79-180F-4FD5-A2D7-8F5E9B5E6C0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4280883"/>
            <a:ext cx="2937920" cy="332399"/>
          </a:xfrm>
        </p:spPr>
        <p:txBody>
          <a:bodyPr wrap="none" lIns="0" tIns="0" rIns="0" bIns="0" anchor="b" anchorCtr="0">
            <a:spAutoFit/>
          </a:bodyPr>
          <a:lstStyle>
            <a:lvl1pPr algn="l">
              <a:defRPr sz="24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Vorname Nachnam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9094F639-8501-4BBB-BEDA-A0D90CAFB7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053920"/>
            <a:ext cx="2777748" cy="430887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 +49 XXXX XXX XX </a:t>
            </a:r>
            <a:r>
              <a:rPr lang="de-DE" dirty="0" err="1"/>
              <a:t>XX</a:t>
            </a:r>
            <a:br>
              <a:rPr lang="de-DE" dirty="0"/>
            </a:br>
            <a:r>
              <a:rPr lang="de-DE" dirty="0"/>
              <a:t>vorname.nachname@senacor.com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6AF72ADE-F411-4A86-8646-208BC9AF2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645127"/>
            <a:ext cx="637995" cy="21544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4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8" name="Textfeld 48">
            <a:extLst>
              <a:ext uri="{FF2B5EF4-FFF2-40B4-BE49-F238E27FC236}">
                <a16:creationId xmlns:a16="http://schemas.microsoft.com/office/drawing/2014/main" id="{44D5D767-BC17-4768-9511-7DF1AFA69E76}"/>
              </a:ext>
            </a:extLst>
          </p:cNvPr>
          <p:cNvSpPr txBox="1"/>
          <p:nvPr/>
        </p:nvSpPr>
        <p:spPr>
          <a:xfrm>
            <a:off x="479425" y="5902697"/>
            <a:ext cx="144379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buFont typeface="Wingdings" panose="05000000000000000000" pitchFamily="2" charset="2"/>
              <a:buNone/>
            </a:pPr>
            <a:r>
              <a:rPr lang="de-DE" sz="1400" dirty="0">
                <a:solidFill>
                  <a:schemeClr val="tx1"/>
                </a:solidFill>
              </a:rPr>
              <a:t>www.senacor.com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7751DF04-5E01-4487-8574-D3F9510067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73539" y="4645127"/>
            <a:ext cx="637995" cy="21544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4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766E230-C429-40D7-88CD-C08E08109E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73539" y="4280883"/>
            <a:ext cx="2937920" cy="332399"/>
          </a:xfrm>
        </p:spPr>
        <p:txBody>
          <a:bodyPr wrap="none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de-DE" sz="2400" b="1" kern="1200" cap="none" baseline="0" dirty="0">
                <a:solidFill>
                  <a:schemeClr val="tx1"/>
                </a:solidFill>
                <a:latin typeface="+mn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884337E5-B406-432D-99C1-EED0D43CBC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73539" y="5053920"/>
            <a:ext cx="2777748" cy="430887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 +49 XXXX XXX XX </a:t>
            </a:r>
            <a:r>
              <a:rPr lang="de-DE" dirty="0" err="1"/>
              <a:t>XX</a:t>
            </a:r>
            <a:br>
              <a:rPr lang="de-DE" dirty="0"/>
            </a:br>
            <a:r>
              <a:rPr lang="de-DE" dirty="0"/>
              <a:t>vorname.nachname@senacor.com</a:t>
            </a:r>
          </a:p>
        </p:txBody>
      </p:sp>
      <p:grpSp>
        <p:nvGrpSpPr>
          <p:cNvPr id="2" name="Grafik 24">
            <a:extLst>
              <a:ext uri="{FF2B5EF4-FFF2-40B4-BE49-F238E27FC236}">
                <a16:creationId xmlns:a16="http://schemas.microsoft.com/office/drawing/2014/main" id="{F9DBE55D-20E2-46D2-82B7-BD007C0044E4}"/>
              </a:ext>
            </a:extLst>
          </p:cNvPr>
          <p:cNvGrpSpPr/>
          <p:nvPr/>
        </p:nvGrpSpPr>
        <p:grpSpPr>
          <a:xfrm>
            <a:off x="9320362" y="330434"/>
            <a:ext cx="2392460" cy="345976"/>
            <a:chOff x="9320362" y="330434"/>
            <a:chExt cx="2392460" cy="345976"/>
          </a:xfrm>
          <a:solidFill>
            <a:srgbClr val="000000"/>
          </a:solidFill>
        </p:grpSpPr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id="{E3314D65-ED26-4F96-97E8-A526C2644736}"/>
                </a:ext>
              </a:extLst>
            </p:cNvPr>
            <p:cNvSpPr/>
            <p:nvPr/>
          </p:nvSpPr>
          <p:spPr>
            <a:xfrm>
              <a:off x="9908583" y="339029"/>
              <a:ext cx="347574" cy="332589"/>
            </a:xfrm>
            <a:custGeom>
              <a:avLst/>
              <a:gdLst>
                <a:gd name="connsiteX0" fmla="*/ 260728 w 347574"/>
                <a:gd name="connsiteY0" fmla="*/ 23028 h 332589"/>
                <a:gd name="connsiteX1" fmla="*/ 265026 w 347574"/>
                <a:gd name="connsiteY1" fmla="*/ 23276 h 332589"/>
                <a:gd name="connsiteX2" fmla="*/ 287313 w 347574"/>
                <a:gd name="connsiteY2" fmla="*/ 58588 h 332589"/>
                <a:gd name="connsiteX3" fmla="*/ 287313 w 347574"/>
                <a:gd name="connsiteY3" fmla="*/ 235095 h 332589"/>
                <a:gd name="connsiteX4" fmla="*/ 80267 w 347574"/>
                <a:gd name="connsiteY4" fmla="*/ 0 h 332589"/>
                <a:gd name="connsiteX5" fmla="*/ 7854 w 347574"/>
                <a:gd name="connsiteY5" fmla="*/ 0 h 332589"/>
                <a:gd name="connsiteX6" fmla="*/ 7854 w 347574"/>
                <a:gd name="connsiteY6" fmla="*/ 22572 h 332589"/>
                <a:gd name="connsiteX7" fmla="*/ 11847 w 347574"/>
                <a:gd name="connsiteY7" fmla="*/ 22971 h 332589"/>
                <a:gd name="connsiteX8" fmla="*/ 27174 w 347574"/>
                <a:gd name="connsiteY8" fmla="*/ 34381 h 332589"/>
                <a:gd name="connsiteX9" fmla="*/ 27174 w 347574"/>
                <a:gd name="connsiteY9" fmla="*/ 267764 h 332589"/>
                <a:gd name="connsiteX10" fmla="*/ 4355 w 347574"/>
                <a:gd name="connsiteY10" fmla="*/ 306024 h 332589"/>
                <a:gd name="connsiteX11" fmla="*/ 0 w 347574"/>
                <a:gd name="connsiteY11" fmla="*/ 306253 h 332589"/>
                <a:gd name="connsiteX12" fmla="*/ 0 w 347574"/>
                <a:gd name="connsiteY12" fmla="*/ 329072 h 332589"/>
                <a:gd name="connsiteX13" fmla="*/ 88577 w 347574"/>
                <a:gd name="connsiteY13" fmla="*/ 329072 h 332589"/>
                <a:gd name="connsiteX14" fmla="*/ 88577 w 347574"/>
                <a:gd name="connsiteY14" fmla="*/ 306500 h 332589"/>
                <a:gd name="connsiteX15" fmla="*/ 84374 w 347574"/>
                <a:gd name="connsiteY15" fmla="*/ 306176 h 332589"/>
                <a:gd name="connsiteX16" fmla="*/ 62677 w 347574"/>
                <a:gd name="connsiteY16" fmla="*/ 263923 h 332589"/>
                <a:gd name="connsiteX17" fmla="*/ 62677 w 347574"/>
                <a:gd name="connsiteY17" fmla="*/ 74809 h 332589"/>
                <a:gd name="connsiteX18" fmla="*/ 288967 w 347574"/>
                <a:gd name="connsiteY18" fmla="*/ 331049 h 332589"/>
                <a:gd name="connsiteX19" fmla="*/ 290336 w 347574"/>
                <a:gd name="connsiteY19" fmla="*/ 332590 h 332589"/>
                <a:gd name="connsiteX20" fmla="*/ 322816 w 347574"/>
                <a:gd name="connsiteY20" fmla="*/ 332590 h 332589"/>
                <a:gd name="connsiteX21" fmla="*/ 322816 w 347574"/>
                <a:gd name="connsiteY21" fmla="*/ 63799 h 332589"/>
                <a:gd name="connsiteX22" fmla="*/ 343391 w 347574"/>
                <a:gd name="connsiteY22" fmla="*/ 23428 h 332589"/>
                <a:gd name="connsiteX23" fmla="*/ 347574 w 347574"/>
                <a:gd name="connsiteY23" fmla="*/ 23066 h 332589"/>
                <a:gd name="connsiteX24" fmla="*/ 347574 w 347574"/>
                <a:gd name="connsiteY24" fmla="*/ 0 h 332589"/>
                <a:gd name="connsiteX25" fmla="*/ 260728 w 347574"/>
                <a:gd name="connsiteY25" fmla="*/ 0 h 332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7574" h="332589">
                  <a:moveTo>
                    <a:pt x="260728" y="23028"/>
                  </a:moveTo>
                  <a:lnTo>
                    <a:pt x="265026" y="23276"/>
                  </a:lnTo>
                  <a:cubicBezTo>
                    <a:pt x="287351" y="24550"/>
                    <a:pt x="287351" y="29094"/>
                    <a:pt x="287313" y="58588"/>
                  </a:cubicBezTo>
                  <a:lnTo>
                    <a:pt x="287313" y="235095"/>
                  </a:lnTo>
                  <a:lnTo>
                    <a:pt x="80267" y="0"/>
                  </a:lnTo>
                  <a:lnTo>
                    <a:pt x="7854" y="0"/>
                  </a:lnTo>
                  <a:lnTo>
                    <a:pt x="7854" y="22572"/>
                  </a:lnTo>
                  <a:lnTo>
                    <a:pt x="11847" y="22971"/>
                  </a:lnTo>
                  <a:cubicBezTo>
                    <a:pt x="23808" y="23789"/>
                    <a:pt x="26946" y="27782"/>
                    <a:pt x="27174" y="34381"/>
                  </a:cubicBezTo>
                  <a:lnTo>
                    <a:pt x="27174" y="267764"/>
                  </a:lnTo>
                  <a:cubicBezTo>
                    <a:pt x="27174" y="297106"/>
                    <a:pt x="27174" y="304978"/>
                    <a:pt x="4355" y="306024"/>
                  </a:cubicBezTo>
                  <a:lnTo>
                    <a:pt x="0" y="306253"/>
                  </a:lnTo>
                  <a:lnTo>
                    <a:pt x="0" y="329072"/>
                  </a:lnTo>
                  <a:lnTo>
                    <a:pt x="88577" y="329072"/>
                  </a:lnTo>
                  <a:lnTo>
                    <a:pt x="88577" y="306500"/>
                  </a:lnTo>
                  <a:lnTo>
                    <a:pt x="84374" y="306176"/>
                  </a:lnTo>
                  <a:cubicBezTo>
                    <a:pt x="62639" y="304484"/>
                    <a:pt x="62658" y="295908"/>
                    <a:pt x="62677" y="263923"/>
                  </a:cubicBezTo>
                  <a:lnTo>
                    <a:pt x="62677" y="74809"/>
                  </a:lnTo>
                  <a:lnTo>
                    <a:pt x="288967" y="331049"/>
                  </a:lnTo>
                  <a:lnTo>
                    <a:pt x="290336" y="332590"/>
                  </a:lnTo>
                  <a:lnTo>
                    <a:pt x="322816" y="332590"/>
                  </a:lnTo>
                  <a:lnTo>
                    <a:pt x="322816" y="63799"/>
                  </a:lnTo>
                  <a:cubicBezTo>
                    <a:pt x="322816" y="30996"/>
                    <a:pt x="324584" y="25215"/>
                    <a:pt x="343391" y="23428"/>
                  </a:cubicBezTo>
                  <a:lnTo>
                    <a:pt x="347574" y="23066"/>
                  </a:lnTo>
                  <a:lnTo>
                    <a:pt x="347574" y="0"/>
                  </a:lnTo>
                  <a:lnTo>
                    <a:pt x="260728" y="0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9ED508CF-86D0-4CCF-BBB2-F14A398BD931}"/>
                </a:ext>
              </a:extLst>
            </p:cNvPr>
            <p:cNvSpPr/>
            <p:nvPr/>
          </p:nvSpPr>
          <p:spPr>
            <a:xfrm>
              <a:off x="9320362" y="330434"/>
              <a:ext cx="243956" cy="345976"/>
            </a:xfrm>
            <a:custGeom>
              <a:avLst/>
              <a:gdLst>
                <a:gd name="connsiteX0" fmla="*/ 142829 w 243956"/>
                <a:gd name="connsiteY0" fmla="*/ 140148 h 345976"/>
                <a:gd name="connsiteX1" fmla="*/ 142829 w 243956"/>
                <a:gd name="connsiteY1" fmla="*/ 140148 h 345976"/>
                <a:gd name="connsiteX2" fmla="*/ 70359 w 243956"/>
                <a:gd name="connsiteY2" fmla="*/ 75189 h 345976"/>
                <a:gd name="connsiteX3" fmla="*/ 119287 w 243956"/>
                <a:gd name="connsiteY3" fmla="*/ 27744 h 345976"/>
                <a:gd name="connsiteX4" fmla="*/ 195351 w 243956"/>
                <a:gd name="connsiteY4" fmla="*/ 64559 h 345976"/>
                <a:gd name="connsiteX5" fmla="*/ 196625 w 243956"/>
                <a:gd name="connsiteY5" fmla="*/ 67145 h 345976"/>
                <a:gd name="connsiteX6" fmla="*/ 221118 w 243956"/>
                <a:gd name="connsiteY6" fmla="*/ 66879 h 345976"/>
                <a:gd name="connsiteX7" fmla="*/ 210526 w 243956"/>
                <a:gd name="connsiteY7" fmla="*/ 5001 h 345976"/>
                <a:gd name="connsiteX8" fmla="*/ 194990 w 243956"/>
                <a:gd name="connsiteY8" fmla="*/ 5001 h 345976"/>
                <a:gd name="connsiteX9" fmla="*/ 192594 w 243956"/>
                <a:gd name="connsiteY9" fmla="*/ 6085 h 345976"/>
                <a:gd name="connsiteX10" fmla="*/ 180291 w 243956"/>
                <a:gd name="connsiteY10" fmla="*/ 8747 h 345976"/>
                <a:gd name="connsiteX11" fmla="*/ 164793 w 243956"/>
                <a:gd name="connsiteY11" fmla="*/ 6180 h 345976"/>
                <a:gd name="connsiteX12" fmla="*/ 155646 w 243956"/>
                <a:gd name="connsiteY12" fmla="*/ 4279 h 345976"/>
                <a:gd name="connsiteX13" fmla="*/ 112765 w 243956"/>
                <a:gd name="connsiteY13" fmla="*/ 0 h 345976"/>
                <a:gd name="connsiteX14" fmla="*/ 8291 w 243956"/>
                <a:gd name="connsiteY14" fmla="*/ 89508 h 345976"/>
                <a:gd name="connsiteX15" fmla="*/ 103675 w 243956"/>
                <a:gd name="connsiteY15" fmla="*/ 190749 h 345976"/>
                <a:gd name="connsiteX16" fmla="*/ 180272 w 243956"/>
                <a:gd name="connsiteY16" fmla="*/ 263333 h 345976"/>
                <a:gd name="connsiteX17" fmla="*/ 117120 w 243956"/>
                <a:gd name="connsiteY17" fmla="*/ 315076 h 345976"/>
                <a:gd name="connsiteX18" fmla="*/ 24417 w 243956"/>
                <a:gd name="connsiteY18" fmla="*/ 271586 h 345976"/>
                <a:gd name="connsiteX19" fmla="*/ 23276 w 243956"/>
                <a:gd name="connsiteY19" fmla="*/ 268734 h 345976"/>
                <a:gd name="connsiteX20" fmla="*/ 0 w 243956"/>
                <a:gd name="connsiteY20" fmla="*/ 268734 h 345976"/>
                <a:gd name="connsiteX21" fmla="*/ 10345 w 243956"/>
                <a:gd name="connsiteY21" fmla="*/ 338371 h 345976"/>
                <a:gd name="connsiteX22" fmla="*/ 29133 w 243956"/>
                <a:gd name="connsiteY22" fmla="*/ 338371 h 345976"/>
                <a:gd name="connsiteX23" fmla="*/ 30445 w 243956"/>
                <a:gd name="connsiteY23" fmla="*/ 337115 h 345976"/>
                <a:gd name="connsiteX24" fmla="*/ 42235 w 243956"/>
                <a:gd name="connsiteY24" fmla="*/ 334491 h 345976"/>
                <a:gd name="connsiteX25" fmla="*/ 62372 w 243956"/>
                <a:gd name="connsiteY25" fmla="*/ 338085 h 345976"/>
                <a:gd name="connsiteX26" fmla="*/ 120942 w 243956"/>
                <a:gd name="connsiteY26" fmla="*/ 345977 h 345976"/>
                <a:gd name="connsiteX27" fmla="*/ 243956 w 243956"/>
                <a:gd name="connsiteY27" fmla="*/ 247988 h 345976"/>
                <a:gd name="connsiteX28" fmla="*/ 142848 w 243956"/>
                <a:gd name="connsiteY28" fmla="*/ 140148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3956" h="345976">
                  <a:moveTo>
                    <a:pt x="142829" y="140148"/>
                  </a:moveTo>
                  <a:lnTo>
                    <a:pt x="142829" y="140148"/>
                  </a:lnTo>
                  <a:cubicBezTo>
                    <a:pt x="105558" y="121436"/>
                    <a:pt x="70359" y="103751"/>
                    <a:pt x="70359" y="75189"/>
                  </a:cubicBezTo>
                  <a:cubicBezTo>
                    <a:pt x="70359" y="56059"/>
                    <a:pt x="85914" y="27744"/>
                    <a:pt x="119287" y="27744"/>
                  </a:cubicBezTo>
                  <a:cubicBezTo>
                    <a:pt x="157814" y="27744"/>
                    <a:pt x="180823" y="38298"/>
                    <a:pt x="195351" y="64559"/>
                  </a:cubicBezTo>
                  <a:lnTo>
                    <a:pt x="196625" y="67145"/>
                  </a:lnTo>
                  <a:lnTo>
                    <a:pt x="221118" y="66879"/>
                  </a:lnTo>
                  <a:lnTo>
                    <a:pt x="210526" y="5001"/>
                  </a:lnTo>
                  <a:lnTo>
                    <a:pt x="194990" y="5001"/>
                  </a:lnTo>
                  <a:lnTo>
                    <a:pt x="192594" y="6085"/>
                  </a:lnTo>
                  <a:cubicBezTo>
                    <a:pt x="188783" y="7997"/>
                    <a:pt x="184551" y="8913"/>
                    <a:pt x="180291" y="8747"/>
                  </a:cubicBezTo>
                  <a:cubicBezTo>
                    <a:pt x="173825" y="8500"/>
                    <a:pt x="170973" y="7435"/>
                    <a:pt x="164793" y="6180"/>
                  </a:cubicBezTo>
                  <a:cubicBezTo>
                    <a:pt x="162168" y="5629"/>
                    <a:pt x="159259" y="4887"/>
                    <a:pt x="155646" y="4279"/>
                  </a:cubicBezTo>
                  <a:cubicBezTo>
                    <a:pt x="141528" y="1446"/>
                    <a:pt x="127164" y="13"/>
                    <a:pt x="112765" y="0"/>
                  </a:cubicBezTo>
                  <a:cubicBezTo>
                    <a:pt x="55146" y="0"/>
                    <a:pt x="8291" y="40143"/>
                    <a:pt x="8291" y="89508"/>
                  </a:cubicBezTo>
                  <a:cubicBezTo>
                    <a:pt x="8291" y="139463"/>
                    <a:pt x="56782" y="165572"/>
                    <a:pt x="103675" y="190749"/>
                  </a:cubicBezTo>
                  <a:cubicBezTo>
                    <a:pt x="143057" y="211933"/>
                    <a:pt x="180272" y="231995"/>
                    <a:pt x="180272" y="263333"/>
                  </a:cubicBezTo>
                  <a:cubicBezTo>
                    <a:pt x="180272" y="292827"/>
                    <a:pt x="153117" y="315076"/>
                    <a:pt x="117120" y="315076"/>
                  </a:cubicBezTo>
                  <a:cubicBezTo>
                    <a:pt x="67906" y="315076"/>
                    <a:pt x="37576" y="300833"/>
                    <a:pt x="24417" y="271586"/>
                  </a:cubicBezTo>
                  <a:lnTo>
                    <a:pt x="23276" y="268734"/>
                  </a:lnTo>
                  <a:lnTo>
                    <a:pt x="0" y="268734"/>
                  </a:lnTo>
                  <a:lnTo>
                    <a:pt x="10345" y="338371"/>
                  </a:lnTo>
                  <a:lnTo>
                    <a:pt x="29133" y="338371"/>
                  </a:lnTo>
                  <a:lnTo>
                    <a:pt x="30445" y="337115"/>
                  </a:lnTo>
                  <a:cubicBezTo>
                    <a:pt x="33240" y="334605"/>
                    <a:pt x="36720" y="334434"/>
                    <a:pt x="42235" y="334491"/>
                  </a:cubicBezTo>
                  <a:cubicBezTo>
                    <a:pt x="47749" y="334548"/>
                    <a:pt x="54120" y="336089"/>
                    <a:pt x="62372" y="338085"/>
                  </a:cubicBezTo>
                  <a:cubicBezTo>
                    <a:pt x="81479" y="343202"/>
                    <a:pt x="101162" y="345853"/>
                    <a:pt x="120942" y="345977"/>
                  </a:cubicBezTo>
                  <a:cubicBezTo>
                    <a:pt x="192233" y="345977"/>
                    <a:pt x="243956" y="304769"/>
                    <a:pt x="243956" y="247988"/>
                  </a:cubicBezTo>
                  <a:cubicBezTo>
                    <a:pt x="243956" y="191206"/>
                    <a:pt x="190160" y="163956"/>
                    <a:pt x="142848" y="140148"/>
                  </a:cubicBezTo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0E4A174D-1F39-4604-A5C6-48E726B8CD62}"/>
                </a:ext>
              </a:extLst>
            </p:cNvPr>
            <p:cNvSpPr/>
            <p:nvPr/>
          </p:nvSpPr>
          <p:spPr>
            <a:xfrm>
              <a:off x="9614881" y="339067"/>
              <a:ext cx="243328" cy="329090"/>
            </a:xfrm>
            <a:custGeom>
              <a:avLst/>
              <a:gdLst>
                <a:gd name="connsiteX0" fmla="*/ 16544 w 243328"/>
                <a:gd name="connsiteY0" fmla="*/ 287103 h 329090"/>
                <a:gd name="connsiteX1" fmla="*/ 4126 w 243328"/>
                <a:gd name="connsiteY1" fmla="*/ 305397 h 329090"/>
                <a:gd name="connsiteX2" fmla="*/ 0 w 243328"/>
                <a:gd name="connsiteY2" fmla="*/ 305796 h 329090"/>
                <a:gd name="connsiteX3" fmla="*/ 0 w 243328"/>
                <a:gd name="connsiteY3" fmla="*/ 329091 h 329090"/>
                <a:gd name="connsiteX4" fmla="*/ 235342 w 243328"/>
                <a:gd name="connsiteY4" fmla="*/ 329091 h 329090"/>
                <a:gd name="connsiteX5" fmla="*/ 243329 w 243328"/>
                <a:gd name="connsiteY5" fmla="*/ 263276 h 329090"/>
                <a:gd name="connsiteX6" fmla="*/ 218608 w 243328"/>
                <a:gd name="connsiteY6" fmla="*/ 263467 h 329090"/>
                <a:gd name="connsiteX7" fmla="*/ 217600 w 243328"/>
                <a:gd name="connsiteY7" fmla="*/ 266604 h 329090"/>
                <a:gd name="connsiteX8" fmla="*/ 164698 w 243328"/>
                <a:gd name="connsiteY8" fmla="*/ 296897 h 329090"/>
                <a:gd name="connsiteX9" fmla="*/ 104284 w 243328"/>
                <a:gd name="connsiteY9" fmla="*/ 296897 h 329090"/>
                <a:gd name="connsiteX10" fmla="*/ 80000 w 243328"/>
                <a:gd name="connsiteY10" fmla="*/ 264398 h 329090"/>
                <a:gd name="connsiteX11" fmla="*/ 80000 w 243328"/>
                <a:gd name="connsiteY11" fmla="*/ 175251 h 329090"/>
                <a:gd name="connsiteX12" fmla="*/ 144655 w 243328"/>
                <a:gd name="connsiteY12" fmla="*/ 175251 h 329090"/>
                <a:gd name="connsiteX13" fmla="*/ 174852 w 243328"/>
                <a:gd name="connsiteY13" fmla="*/ 193126 h 329090"/>
                <a:gd name="connsiteX14" fmla="*/ 175537 w 243328"/>
                <a:gd name="connsiteY14" fmla="*/ 196930 h 329090"/>
                <a:gd name="connsiteX15" fmla="*/ 199079 w 243328"/>
                <a:gd name="connsiteY15" fmla="*/ 196930 h 329090"/>
                <a:gd name="connsiteX16" fmla="*/ 199079 w 243328"/>
                <a:gd name="connsiteY16" fmla="*/ 122767 h 329090"/>
                <a:gd name="connsiteX17" fmla="*/ 175917 w 243328"/>
                <a:gd name="connsiteY17" fmla="*/ 122767 h 329090"/>
                <a:gd name="connsiteX18" fmla="*/ 175347 w 243328"/>
                <a:gd name="connsiteY18" fmla="*/ 126570 h 329090"/>
                <a:gd name="connsiteX19" fmla="*/ 144655 w 243328"/>
                <a:gd name="connsiteY19" fmla="*/ 143133 h 329090"/>
                <a:gd name="connsiteX20" fmla="*/ 80000 w 243328"/>
                <a:gd name="connsiteY20" fmla="*/ 143133 h 329090"/>
                <a:gd name="connsiteX21" fmla="*/ 80000 w 243328"/>
                <a:gd name="connsiteY21" fmla="*/ 32213 h 329090"/>
                <a:gd name="connsiteX22" fmla="*/ 166599 w 243328"/>
                <a:gd name="connsiteY22" fmla="*/ 32213 h 329090"/>
                <a:gd name="connsiteX23" fmla="*/ 201950 w 243328"/>
                <a:gd name="connsiteY23" fmla="*/ 55603 h 329090"/>
                <a:gd name="connsiteX24" fmla="*/ 202882 w 243328"/>
                <a:gd name="connsiteY24" fmla="*/ 58950 h 329090"/>
                <a:gd name="connsiteX25" fmla="*/ 227603 w 243328"/>
                <a:gd name="connsiteY25" fmla="*/ 58950 h 329090"/>
                <a:gd name="connsiteX26" fmla="*/ 223533 w 243328"/>
                <a:gd name="connsiteY26" fmla="*/ 0 h 329090"/>
                <a:gd name="connsiteX27" fmla="*/ 361 w 243328"/>
                <a:gd name="connsiteY27" fmla="*/ 0 h 329090"/>
                <a:gd name="connsiteX28" fmla="*/ 361 w 243328"/>
                <a:gd name="connsiteY28" fmla="*/ 23066 h 329090"/>
                <a:gd name="connsiteX29" fmla="*/ 4545 w 243328"/>
                <a:gd name="connsiteY29" fmla="*/ 23352 h 329090"/>
                <a:gd name="connsiteX30" fmla="*/ 16582 w 243328"/>
                <a:gd name="connsiteY30" fmla="*/ 52655 h 32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43328" h="329090">
                  <a:moveTo>
                    <a:pt x="16544" y="287103"/>
                  </a:moveTo>
                  <a:cubicBezTo>
                    <a:pt x="16202" y="299939"/>
                    <a:pt x="15878" y="304218"/>
                    <a:pt x="4126" y="305397"/>
                  </a:cubicBezTo>
                  <a:lnTo>
                    <a:pt x="0" y="305796"/>
                  </a:lnTo>
                  <a:lnTo>
                    <a:pt x="0" y="329091"/>
                  </a:lnTo>
                  <a:lnTo>
                    <a:pt x="235342" y="329091"/>
                  </a:lnTo>
                  <a:lnTo>
                    <a:pt x="243329" y="263276"/>
                  </a:lnTo>
                  <a:lnTo>
                    <a:pt x="218608" y="263467"/>
                  </a:lnTo>
                  <a:lnTo>
                    <a:pt x="217600" y="266604"/>
                  </a:lnTo>
                  <a:cubicBezTo>
                    <a:pt x="207826" y="297239"/>
                    <a:pt x="197766" y="297144"/>
                    <a:pt x="164698" y="296897"/>
                  </a:cubicBezTo>
                  <a:lnTo>
                    <a:pt x="104284" y="296897"/>
                  </a:lnTo>
                  <a:cubicBezTo>
                    <a:pt x="80666" y="296897"/>
                    <a:pt x="80000" y="292276"/>
                    <a:pt x="80000" y="264398"/>
                  </a:cubicBezTo>
                  <a:lnTo>
                    <a:pt x="80000" y="175251"/>
                  </a:lnTo>
                  <a:lnTo>
                    <a:pt x="144655" y="175251"/>
                  </a:lnTo>
                  <a:cubicBezTo>
                    <a:pt x="166181" y="175251"/>
                    <a:pt x="170688" y="175727"/>
                    <a:pt x="174852" y="193126"/>
                  </a:cubicBezTo>
                  <a:lnTo>
                    <a:pt x="175537" y="196930"/>
                  </a:lnTo>
                  <a:lnTo>
                    <a:pt x="199079" y="196930"/>
                  </a:lnTo>
                  <a:lnTo>
                    <a:pt x="199079" y="122767"/>
                  </a:lnTo>
                  <a:lnTo>
                    <a:pt x="175917" y="122767"/>
                  </a:lnTo>
                  <a:lnTo>
                    <a:pt x="175347" y="126570"/>
                  </a:lnTo>
                  <a:cubicBezTo>
                    <a:pt x="172608" y="141935"/>
                    <a:pt x="167588" y="143133"/>
                    <a:pt x="144655" y="143133"/>
                  </a:cubicBezTo>
                  <a:lnTo>
                    <a:pt x="80000" y="143133"/>
                  </a:lnTo>
                  <a:lnTo>
                    <a:pt x="80000" y="32213"/>
                  </a:lnTo>
                  <a:lnTo>
                    <a:pt x="166599" y="32213"/>
                  </a:lnTo>
                  <a:cubicBezTo>
                    <a:pt x="188829" y="32213"/>
                    <a:pt x="196112" y="32213"/>
                    <a:pt x="201950" y="55603"/>
                  </a:cubicBezTo>
                  <a:lnTo>
                    <a:pt x="202882" y="58950"/>
                  </a:lnTo>
                  <a:lnTo>
                    <a:pt x="227603" y="58950"/>
                  </a:lnTo>
                  <a:lnTo>
                    <a:pt x="223533" y="0"/>
                  </a:lnTo>
                  <a:lnTo>
                    <a:pt x="361" y="0"/>
                  </a:lnTo>
                  <a:lnTo>
                    <a:pt x="361" y="23066"/>
                  </a:lnTo>
                  <a:lnTo>
                    <a:pt x="4545" y="23352"/>
                  </a:lnTo>
                  <a:cubicBezTo>
                    <a:pt x="16411" y="24778"/>
                    <a:pt x="16430" y="29056"/>
                    <a:pt x="16582" y="52655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8E6F700F-17C6-405B-81D0-2B15A47DEEEF}"/>
                </a:ext>
              </a:extLst>
            </p:cNvPr>
            <p:cNvSpPr/>
            <p:nvPr/>
          </p:nvSpPr>
          <p:spPr>
            <a:xfrm>
              <a:off x="11361159" y="334047"/>
              <a:ext cx="351663" cy="338788"/>
            </a:xfrm>
            <a:custGeom>
              <a:avLst/>
              <a:gdLst>
                <a:gd name="connsiteX0" fmla="*/ 236768 w 351663"/>
                <a:gd name="connsiteY0" fmla="*/ 212960 h 338788"/>
                <a:gd name="connsiteX1" fmla="*/ 204061 w 351663"/>
                <a:gd name="connsiteY1" fmla="*/ 181793 h 338788"/>
                <a:gd name="connsiteX2" fmla="*/ 264170 w 351663"/>
                <a:gd name="connsiteY2" fmla="*/ 96753 h 338788"/>
                <a:gd name="connsiteX3" fmla="*/ 121417 w 351663"/>
                <a:gd name="connsiteY3" fmla="*/ 0 h 338788"/>
                <a:gd name="connsiteX4" fmla="*/ 59007 w 351663"/>
                <a:gd name="connsiteY4" fmla="*/ 1027 h 338788"/>
                <a:gd name="connsiteX5" fmla="*/ 24607 w 351663"/>
                <a:gd name="connsiteY5" fmla="*/ 2700 h 338788"/>
                <a:gd name="connsiteX6" fmla="*/ 10478 w 351663"/>
                <a:gd name="connsiteY6" fmla="*/ 3651 h 338788"/>
                <a:gd name="connsiteX7" fmla="*/ 10478 w 351663"/>
                <a:gd name="connsiteY7" fmla="*/ 26946 h 338788"/>
                <a:gd name="connsiteX8" fmla="*/ 14585 w 351663"/>
                <a:gd name="connsiteY8" fmla="*/ 27136 h 338788"/>
                <a:gd name="connsiteX9" fmla="*/ 28752 w 351663"/>
                <a:gd name="connsiteY9" fmla="*/ 40713 h 338788"/>
                <a:gd name="connsiteX10" fmla="*/ 28562 w 351663"/>
                <a:gd name="connsiteY10" fmla="*/ 281722 h 338788"/>
                <a:gd name="connsiteX11" fmla="*/ 4336 w 351663"/>
                <a:gd name="connsiteY11" fmla="*/ 311083 h 338788"/>
                <a:gd name="connsiteX12" fmla="*/ 0 w 351663"/>
                <a:gd name="connsiteY12" fmla="*/ 311311 h 338788"/>
                <a:gd name="connsiteX13" fmla="*/ 0 w 351663"/>
                <a:gd name="connsiteY13" fmla="*/ 334130 h 338788"/>
                <a:gd name="connsiteX14" fmla="*/ 124175 w 351663"/>
                <a:gd name="connsiteY14" fmla="*/ 334130 h 338788"/>
                <a:gd name="connsiteX15" fmla="*/ 124175 w 351663"/>
                <a:gd name="connsiteY15" fmla="*/ 311178 h 338788"/>
                <a:gd name="connsiteX16" fmla="*/ 119877 w 351663"/>
                <a:gd name="connsiteY16" fmla="*/ 311178 h 338788"/>
                <a:gd name="connsiteX17" fmla="*/ 94833 w 351663"/>
                <a:gd name="connsiteY17" fmla="*/ 267004 h 338788"/>
                <a:gd name="connsiteX18" fmla="*/ 94833 w 351663"/>
                <a:gd name="connsiteY18" fmla="*/ 201760 h 338788"/>
                <a:gd name="connsiteX19" fmla="*/ 134272 w 351663"/>
                <a:gd name="connsiteY19" fmla="*/ 201417 h 338788"/>
                <a:gd name="connsiteX20" fmla="*/ 187517 w 351663"/>
                <a:gd name="connsiteY20" fmla="*/ 249414 h 338788"/>
                <a:gd name="connsiteX21" fmla="*/ 214501 w 351663"/>
                <a:gd name="connsiteY21" fmla="*/ 276626 h 338788"/>
                <a:gd name="connsiteX22" fmla="*/ 230569 w 351663"/>
                <a:gd name="connsiteY22" fmla="*/ 293417 h 338788"/>
                <a:gd name="connsiteX23" fmla="*/ 241731 w 351663"/>
                <a:gd name="connsiteY23" fmla="*/ 305796 h 338788"/>
                <a:gd name="connsiteX24" fmla="*/ 327836 w 351663"/>
                <a:gd name="connsiteY24" fmla="*/ 338789 h 338788"/>
                <a:gd name="connsiteX25" fmla="*/ 346491 w 351663"/>
                <a:gd name="connsiteY25" fmla="*/ 338523 h 338788"/>
                <a:gd name="connsiteX26" fmla="*/ 351663 w 351663"/>
                <a:gd name="connsiteY26" fmla="*/ 338409 h 338788"/>
                <a:gd name="connsiteX27" fmla="*/ 351663 w 351663"/>
                <a:gd name="connsiteY27" fmla="*/ 315494 h 338788"/>
                <a:gd name="connsiteX28" fmla="*/ 346852 w 351663"/>
                <a:gd name="connsiteY28" fmla="*/ 315057 h 338788"/>
                <a:gd name="connsiteX29" fmla="*/ 346852 w 351663"/>
                <a:gd name="connsiteY29" fmla="*/ 315057 h 338788"/>
                <a:gd name="connsiteX30" fmla="*/ 309181 w 351663"/>
                <a:gd name="connsiteY30" fmla="*/ 287807 h 338788"/>
                <a:gd name="connsiteX31" fmla="*/ 278014 w 351663"/>
                <a:gd name="connsiteY31" fmla="*/ 255004 h 338788"/>
                <a:gd name="connsiteX32" fmla="*/ 193374 w 351663"/>
                <a:gd name="connsiteY32" fmla="*/ 101907 h 338788"/>
                <a:gd name="connsiteX33" fmla="*/ 106756 w 351663"/>
                <a:gd name="connsiteY33" fmla="*/ 178769 h 338788"/>
                <a:gd name="connsiteX34" fmla="*/ 94871 w 351663"/>
                <a:gd name="connsiteY34" fmla="*/ 178256 h 338788"/>
                <a:gd name="connsiteX35" fmla="*/ 94871 w 351663"/>
                <a:gd name="connsiteY35" fmla="*/ 24911 h 338788"/>
                <a:gd name="connsiteX36" fmla="*/ 116226 w 351663"/>
                <a:gd name="connsiteY36" fmla="*/ 24664 h 338788"/>
                <a:gd name="connsiteX37" fmla="*/ 193374 w 351663"/>
                <a:gd name="connsiteY37" fmla="*/ 101907 h 33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51663" h="338788">
                  <a:moveTo>
                    <a:pt x="236768" y="212960"/>
                  </a:moveTo>
                  <a:cubicBezTo>
                    <a:pt x="233193" y="209366"/>
                    <a:pt x="215470" y="191586"/>
                    <a:pt x="204061" y="181793"/>
                  </a:cubicBezTo>
                  <a:cubicBezTo>
                    <a:pt x="243994" y="162986"/>
                    <a:pt x="264170" y="134386"/>
                    <a:pt x="264170" y="96753"/>
                  </a:cubicBezTo>
                  <a:cubicBezTo>
                    <a:pt x="264170" y="67659"/>
                    <a:pt x="250270" y="0"/>
                    <a:pt x="121417" y="0"/>
                  </a:cubicBezTo>
                  <a:cubicBezTo>
                    <a:pt x="110863" y="0"/>
                    <a:pt x="86162" y="0"/>
                    <a:pt x="59007" y="1027"/>
                  </a:cubicBezTo>
                  <a:cubicBezTo>
                    <a:pt x="42634" y="1749"/>
                    <a:pt x="33031" y="2263"/>
                    <a:pt x="24607" y="2700"/>
                  </a:cubicBezTo>
                  <a:lnTo>
                    <a:pt x="10478" y="3651"/>
                  </a:lnTo>
                  <a:lnTo>
                    <a:pt x="10478" y="26946"/>
                  </a:lnTo>
                  <a:lnTo>
                    <a:pt x="14585" y="27136"/>
                  </a:lnTo>
                  <a:cubicBezTo>
                    <a:pt x="24759" y="27877"/>
                    <a:pt x="28619" y="30521"/>
                    <a:pt x="28752" y="40713"/>
                  </a:cubicBezTo>
                  <a:lnTo>
                    <a:pt x="28562" y="281722"/>
                  </a:lnTo>
                  <a:cubicBezTo>
                    <a:pt x="27935" y="301708"/>
                    <a:pt x="26660" y="310037"/>
                    <a:pt x="4336" y="311083"/>
                  </a:cubicBezTo>
                  <a:lnTo>
                    <a:pt x="0" y="311311"/>
                  </a:lnTo>
                  <a:lnTo>
                    <a:pt x="0" y="334130"/>
                  </a:lnTo>
                  <a:lnTo>
                    <a:pt x="124175" y="334130"/>
                  </a:lnTo>
                  <a:lnTo>
                    <a:pt x="124175" y="311178"/>
                  </a:lnTo>
                  <a:lnTo>
                    <a:pt x="119877" y="311178"/>
                  </a:lnTo>
                  <a:cubicBezTo>
                    <a:pt x="94814" y="309942"/>
                    <a:pt x="94833" y="304218"/>
                    <a:pt x="94833" y="267004"/>
                  </a:cubicBezTo>
                  <a:lnTo>
                    <a:pt x="94833" y="201760"/>
                  </a:lnTo>
                  <a:cubicBezTo>
                    <a:pt x="107973" y="202526"/>
                    <a:pt x="121151" y="202410"/>
                    <a:pt x="134272" y="201417"/>
                  </a:cubicBezTo>
                  <a:cubicBezTo>
                    <a:pt x="154334" y="216402"/>
                    <a:pt x="161864" y="223514"/>
                    <a:pt x="187517" y="249414"/>
                  </a:cubicBezTo>
                  <a:lnTo>
                    <a:pt x="214501" y="276626"/>
                  </a:lnTo>
                  <a:cubicBezTo>
                    <a:pt x="220624" y="282825"/>
                    <a:pt x="225910" y="288454"/>
                    <a:pt x="230569" y="293417"/>
                  </a:cubicBezTo>
                  <a:cubicBezTo>
                    <a:pt x="234791" y="297904"/>
                    <a:pt x="238461" y="302088"/>
                    <a:pt x="241731" y="305796"/>
                  </a:cubicBezTo>
                  <a:cubicBezTo>
                    <a:pt x="261698" y="328444"/>
                    <a:pt x="270826" y="338789"/>
                    <a:pt x="327836" y="338789"/>
                  </a:cubicBezTo>
                  <a:cubicBezTo>
                    <a:pt x="333541" y="338789"/>
                    <a:pt x="339607" y="338789"/>
                    <a:pt x="346491" y="338523"/>
                  </a:cubicBezTo>
                  <a:lnTo>
                    <a:pt x="351663" y="338409"/>
                  </a:lnTo>
                  <a:lnTo>
                    <a:pt x="351663" y="315494"/>
                  </a:lnTo>
                  <a:lnTo>
                    <a:pt x="346852" y="315057"/>
                  </a:lnTo>
                  <a:lnTo>
                    <a:pt x="346852" y="315057"/>
                  </a:lnTo>
                  <a:cubicBezTo>
                    <a:pt x="333408" y="313802"/>
                    <a:pt x="325326" y="305112"/>
                    <a:pt x="309181" y="287807"/>
                  </a:cubicBezTo>
                  <a:lnTo>
                    <a:pt x="278014" y="255004"/>
                  </a:lnTo>
                  <a:close/>
                  <a:moveTo>
                    <a:pt x="193374" y="101907"/>
                  </a:moveTo>
                  <a:cubicBezTo>
                    <a:pt x="193374" y="154676"/>
                    <a:pt x="169357" y="176354"/>
                    <a:pt x="106756" y="178769"/>
                  </a:cubicBezTo>
                  <a:cubicBezTo>
                    <a:pt x="104854" y="178769"/>
                    <a:pt x="99416" y="178769"/>
                    <a:pt x="94871" y="178256"/>
                  </a:cubicBezTo>
                  <a:lnTo>
                    <a:pt x="94871" y="24911"/>
                  </a:lnTo>
                  <a:cubicBezTo>
                    <a:pt x="101089" y="24664"/>
                    <a:pt x="110635" y="24664"/>
                    <a:pt x="116226" y="24664"/>
                  </a:cubicBezTo>
                  <a:cubicBezTo>
                    <a:pt x="167645" y="24645"/>
                    <a:pt x="193374" y="50621"/>
                    <a:pt x="193374" y="101907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E61F8F61-0A3A-4A54-9246-6A366390E4DB}"/>
                </a:ext>
              </a:extLst>
            </p:cNvPr>
            <p:cNvSpPr/>
            <p:nvPr/>
          </p:nvSpPr>
          <p:spPr>
            <a:xfrm>
              <a:off x="10279262" y="339029"/>
              <a:ext cx="336564" cy="329223"/>
            </a:xfrm>
            <a:custGeom>
              <a:avLst/>
              <a:gdLst>
                <a:gd name="connsiteX0" fmla="*/ 197272 w 336564"/>
                <a:gd name="connsiteY0" fmla="*/ 0 h 329223"/>
                <a:gd name="connsiteX1" fmla="*/ 147450 w 336564"/>
                <a:gd name="connsiteY1" fmla="*/ 0 h 329223"/>
                <a:gd name="connsiteX2" fmla="*/ 40580 w 336564"/>
                <a:gd name="connsiteY2" fmla="*/ 267289 h 329223"/>
                <a:gd name="connsiteX3" fmla="*/ 4241 w 336564"/>
                <a:gd name="connsiteY3" fmla="*/ 306119 h 329223"/>
                <a:gd name="connsiteX4" fmla="*/ 0 w 336564"/>
                <a:gd name="connsiteY4" fmla="*/ 306405 h 329223"/>
                <a:gd name="connsiteX5" fmla="*/ 0 w 336564"/>
                <a:gd name="connsiteY5" fmla="*/ 329224 h 329223"/>
                <a:gd name="connsiteX6" fmla="*/ 92171 w 336564"/>
                <a:gd name="connsiteY6" fmla="*/ 329224 h 329223"/>
                <a:gd name="connsiteX7" fmla="*/ 92171 w 336564"/>
                <a:gd name="connsiteY7" fmla="*/ 306576 h 329223"/>
                <a:gd name="connsiteX8" fmla="*/ 88025 w 336564"/>
                <a:gd name="connsiteY8" fmla="*/ 306214 h 329223"/>
                <a:gd name="connsiteX9" fmla="*/ 67469 w 336564"/>
                <a:gd name="connsiteY9" fmla="*/ 290602 h 329223"/>
                <a:gd name="connsiteX10" fmla="*/ 72394 w 336564"/>
                <a:gd name="connsiteY10" fmla="*/ 272081 h 329223"/>
                <a:gd name="connsiteX11" fmla="*/ 97115 w 336564"/>
                <a:gd name="connsiteY11" fmla="*/ 208263 h 329223"/>
                <a:gd name="connsiteX12" fmla="*/ 210716 w 336564"/>
                <a:gd name="connsiteY12" fmla="*/ 208263 h 329223"/>
                <a:gd name="connsiteX13" fmla="*/ 235437 w 336564"/>
                <a:gd name="connsiteY13" fmla="*/ 271929 h 329223"/>
                <a:gd name="connsiteX14" fmla="*/ 241807 w 336564"/>
                <a:gd name="connsiteY14" fmla="*/ 291991 h 329223"/>
                <a:gd name="connsiteX15" fmla="*/ 241960 w 336564"/>
                <a:gd name="connsiteY15" fmla="*/ 292751 h 329223"/>
                <a:gd name="connsiteX16" fmla="*/ 240267 w 336564"/>
                <a:gd name="connsiteY16" fmla="*/ 300224 h 329223"/>
                <a:gd name="connsiteX17" fmla="*/ 221879 w 336564"/>
                <a:gd name="connsiteY17" fmla="*/ 305815 h 329223"/>
                <a:gd name="connsiteX18" fmla="*/ 217695 w 336564"/>
                <a:gd name="connsiteY18" fmla="*/ 306138 h 329223"/>
                <a:gd name="connsiteX19" fmla="*/ 217695 w 336564"/>
                <a:gd name="connsiteY19" fmla="*/ 329148 h 329223"/>
                <a:gd name="connsiteX20" fmla="*/ 336564 w 336564"/>
                <a:gd name="connsiteY20" fmla="*/ 329148 h 329223"/>
                <a:gd name="connsiteX21" fmla="*/ 336564 w 336564"/>
                <a:gd name="connsiteY21" fmla="*/ 306557 h 329223"/>
                <a:gd name="connsiteX22" fmla="*/ 332229 w 336564"/>
                <a:gd name="connsiteY22" fmla="*/ 306329 h 329223"/>
                <a:gd name="connsiteX23" fmla="*/ 299901 w 336564"/>
                <a:gd name="connsiteY23" fmla="*/ 272537 h 329223"/>
                <a:gd name="connsiteX24" fmla="*/ 197614 w 336564"/>
                <a:gd name="connsiteY24" fmla="*/ 174091 h 329223"/>
                <a:gd name="connsiteX25" fmla="*/ 110141 w 336564"/>
                <a:gd name="connsiteY25" fmla="*/ 174091 h 329223"/>
                <a:gd name="connsiteX26" fmla="*/ 154562 w 336564"/>
                <a:gd name="connsiteY26" fmla="*/ 60129 h 329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6564" h="329223">
                  <a:moveTo>
                    <a:pt x="197272" y="0"/>
                  </a:moveTo>
                  <a:lnTo>
                    <a:pt x="147450" y="0"/>
                  </a:lnTo>
                  <a:lnTo>
                    <a:pt x="40580" y="267289"/>
                  </a:lnTo>
                  <a:cubicBezTo>
                    <a:pt x="27896" y="298912"/>
                    <a:pt x="25595" y="304617"/>
                    <a:pt x="4241" y="306119"/>
                  </a:cubicBezTo>
                  <a:lnTo>
                    <a:pt x="0" y="306405"/>
                  </a:lnTo>
                  <a:lnTo>
                    <a:pt x="0" y="329224"/>
                  </a:lnTo>
                  <a:lnTo>
                    <a:pt x="92171" y="329224"/>
                  </a:lnTo>
                  <a:lnTo>
                    <a:pt x="92171" y="306576"/>
                  </a:lnTo>
                  <a:lnTo>
                    <a:pt x="88025" y="306214"/>
                  </a:lnTo>
                  <a:cubicBezTo>
                    <a:pt x="70911" y="304313"/>
                    <a:pt x="66936" y="297809"/>
                    <a:pt x="67469" y="290602"/>
                  </a:cubicBezTo>
                  <a:cubicBezTo>
                    <a:pt x="67811" y="286096"/>
                    <a:pt x="69161" y="280790"/>
                    <a:pt x="72394" y="272081"/>
                  </a:cubicBezTo>
                  <a:lnTo>
                    <a:pt x="97115" y="208263"/>
                  </a:lnTo>
                  <a:lnTo>
                    <a:pt x="210716" y="208263"/>
                  </a:lnTo>
                  <a:lnTo>
                    <a:pt x="235437" y="271929"/>
                  </a:lnTo>
                  <a:cubicBezTo>
                    <a:pt x="239411" y="283205"/>
                    <a:pt x="240286" y="285392"/>
                    <a:pt x="241807" y="291991"/>
                  </a:cubicBezTo>
                  <a:lnTo>
                    <a:pt x="241960" y="292751"/>
                  </a:lnTo>
                  <a:cubicBezTo>
                    <a:pt x="242587" y="295370"/>
                    <a:pt x="241961" y="298131"/>
                    <a:pt x="240267" y="300224"/>
                  </a:cubicBezTo>
                  <a:cubicBezTo>
                    <a:pt x="237871" y="303229"/>
                    <a:pt x="231957" y="305035"/>
                    <a:pt x="221879" y="305815"/>
                  </a:cubicBezTo>
                  <a:lnTo>
                    <a:pt x="217695" y="306138"/>
                  </a:lnTo>
                  <a:lnTo>
                    <a:pt x="217695" y="329148"/>
                  </a:lnTo>
                  <a:lnTo>
                    <a:pt x="336564" y="329148"/>
                  </a:lnTo>
                  <a:lnTo>
                    <a:pt x="336564" y="306557"/>
                  </a:lnTo>
                  <a:lnTo>
                    <a:pt x="332229" y="306329"/>
                  </a:lnTo>
                  <a:cubicBezTo>
                    <a:pt x="311901" y="305397"/>
                    <a:pt x="310056" y="300377"/>
                    <a:pt x="299901" y="272537"/>
                  </a:cubicBezTo>
                  <a:close/>
                  <a:moveTo>
                    <a:pt x="197614" y="174091"/>
                  </a:moveTo>
                  <a:lnTo>
                    <a:pt x="110141" y="174091"/>
                  </a:lnTo>
                  <a:lnTo>
                    <a:pt x="154562" y="60129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10579C9B-9230-4FA8-B8AD-1FA518105368}"/>
                </a:ext>
              </a:extLst>
            </p:cNvPr>
            <p:cNvSpPr/>
            <p:nvPr/>
          </p:nvSpPr>
          <p:spPr>
            <a:xfrm>
              <a:off x="10972339" y="330434"/>
              <a:ext cx="355447" cy="345976"/>
            </a:xfrm>
            <a:custGeom>
              <a:avLst/>
              <a:gdLst>
                <a:gd name="connsiteX0" fmla="*/ 177724 w 355447"/>
                <a:gd name="connsiteY0" fmla="*/ 0 h 345976"/>
                <a:gd name="connsiteX1" fmla="*/ 0 w 355447"/>
                <a:gd name="connsiteY1" fmla="*/ 181755 h 345976"/>
                <a:gd name="connsiteX2" fmla="*/ 175822 w 355447"/>
                <a:gd name="connsiteY2" fmla="*/ 345977 h 345976"/>
                <a:gd name="connsiteX3" fmla="*/ 355447 w 355447"/>
                <a:gd name="connsiteY3" fmla="*/ 167322 h 345976"/>
                <a:gd name="connsiteX4" fmla="*/ 177724 w 355447"/>
                <a:gd name="connsiteY4" fmla="*/ 0 h 345976"/>
                <a:gd name="connsiteX5" fmla="*/ 288948 w 355447"/>
                <a:gd name="connsiteY5" fmla="*/ 180196 h 345976"/>
                <a:gd name="connsiteX6" fmla="*/ 183409 w 355447"/>
                <a:gd name="connsiteY6" fmla="*/ 320381 h 345976"/>
                <a:gd name="connsiteX7" fmla="*/ 66518 w 355447"/>
                <a:gd name="connsiteY7" fmla="*/ 167835 h 345976"/>
                <a:gd name="connsiteX8" fmla="*/ 173920 w 355447"/>
                <a:gd name="connsiteY8" fmla="*/ 25577 h 345976"/>
                <a:gd name="connsiteX9" fmla="*/ 288948 w 355447"/>
                <a:gd name="connsiteY9" fmla="*/ 180196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447" h="345976">
                  <a:moveTo>
                    <a:pt x="177724" y="0"/>
                  </a:moveTo>
                  <a:cubicBezTo>
                    <a:pt x="74676" y="0"/>
                    <a:pt x="0" y="76425"/>
                    <a:pt x="0" y="181755"/>
                  </a:cubicBezTo>
                  <a:cubicBezTo>
                    <a:pt x="0" y="276835"/>
                    <a:pt x="73953" y="345977"/>
                    <a:pt x="175822" y="345977"/>
                  </a:cubicBezTo>
                  <a:cubicBezTo>
                    <a:pt x="278223" y="345977"/>
                    <a:pt x="355447" y="269171"/>
                    <a:pt x="355447" y="167322"/>
                  </a:cubicBezTo>
                  <a:cubicBezTo>
                    <a:pt x="355447" y="68800"/>
                    <a:pt x="282369" y="0"/>
                    <a:pt x="177724" y="0"/>
                  </a:cubicBezTo>
                  <a:close/>
                  <a:moveTo>
                    <a:pt x="288948" y="180196"/>
                  </a:moveTo>
                  <a:cubicBezTo>
                    <a:pt x="288948" y="264056"/>
                    <a:pt x="246543" y="320381"/>
                    <a:pt x="183409" y="320381"/>
                  </a:cubicBezTo>
                  <a:cubicBezTo>
                    <a:pt x="125316" y="320381"/>
                    <a:pt x="66518" y="267973"/>
                    <a:pt x="66518" y="167835"/>
                  </a:cubicBezTo>
                  <a:cubicBezTo>
                    <a:pt x="66518" y="80095"/>
                    <a:pt x="107669" y="25577"/>
                    <a:pt x="173920" y="25577"/>
                  </a:cubicBezTo>
                  <a:cubicBezTo>
                    <a:pt x="241636" y="25577"/>
                    <a:pt x="288948" y="89166"/>
                    <a:pt x="288948" y="180196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CF9930E1-FE54-4F3B-9AA4-8FAFAEBA68E4}"/>
                </a:ext>
              </a:extLst>
            </p:cNvPr>
            <p:cNvSpPr/>
            <p:nvPr/>
          </p:nvSpPr>
          <p:spPr>
            <a:xfrm>
              <a:off x="10629233" y="330434"/>
              <a:ext cx="319735" cy="345976"/>
            </a:xfrm>
            <a:custGeom>
              <a:avLst/>
              <a:gdLst>
                <a:gd name="connsiteX0" fmla="*/ 319735 w 319735"/>
                <a:gd name="connsiteY0" fmla="*/ 268620 h 345976"/>
                <a:gd name="connsiteX1" fmla="*/ 293455 w 319735"/>
                <a:gd name="connsiteY1" fmla="*/ 268943 h 345976"/>
                <a:gd name="connsiteX2" fmla="*/ 292143 w 319735"/>
                <a:gd name="connsiteY2" fmla="*/ 270750 h 345976"/>
                <a:gd name="connsiteX3" fmla="*/ 193260 w 319735"/>
                <a:gd name="connsiteY3" fmla="*/ 318290 h 345976"/>
                <a:gd name="connsiteX4" fmla="*/ 114134 w 319735"/>
                <a:gd name="connsiteY4" fmla="*/ 286875 h 345976"/>
                <a:gd name="connsiteX5" fmla="*/ 67792 w 319735"/>
                <a:gd name="connsiteY5" fmla="*/ 165743 h 345976"/>
                <a:gd name="connsiteX6" fmla="*/ 184588 w 319735"/>
                <a:gd name="connsiteY6" fmla="*/ 25538 h 345976"/>
                <a:gd name="connsiteX7" fmla="*/ 291382 w 319735"/>
                <a:gd name="connsiteY7" fmla="*/ 81864 h 345976"/>
                <a:gd name="connsiteX8" fmla="*/ 292675 w 319735"/>
                <a:gd name="connsiteY8" fmla="*/ 84412 h 345976"/>
                <a:gd name="connsiteX9" fmla="*/ 314449 w 319735"/>
                <a:gd name="connsiteY9" fmla="*/ 84070 h 345976"/>
                <a:gd name="connsiteX10" fmla="*/ 312338 w 319735"/>
                <a:gd name="connsiteY10" fmla="*/ 14851 h 345976"/>
                <a:gd name="connsiteX11" fmla="*/ 294482 w 319735"/>
                <a:gd name="connsiteY11" fmla="*/ 14851 h 345976"/>
                <a:gd name="connsiteX12" fmla="*/ 293550 w 319735"/>
                <a:gd name="connsiteY12" fmla="*/ 15479 h 345976"/>
                <a:gd name="connsiteX13" fmla="*/ 286761 w 319735"/>
                <a:gd name="connsiteY13" fmla="*/ 16981 h 345976"/>
                <a:gd name="connsiteX14" fmla="*/ 266053 w 319735"/>
                <a:gd name="connsiteY14" fmla="*/ 12608 h 345976"/>
                <a:gd name="connsiteX15" fmla="*/ 182668 w 319735"/>
                <a:gd name="connsiteY15" fmla="*/ 0 h 345976"/>
                <a:gd name="connsiteX16" fmla="*/ 0 w 319735"/>
                <a:gd name="connsiteY16" fmla="*/ 179150 h 345976"/>
                <a:gd name="connsiteX17" fmla="*/ 178750 w 319735"/>
                <a:gd name="connsiteY17" fmla="*/ 345977 h 345976"/>
                <a:gd name="connsiteX18" fmla="*/ 242682 w 319735"/>
                <a:gd name="connsiteY18" fmla="*/ 338580 h 345976"/>
                <a:gd name="connsiteX19" fmla="*/ 275865 w 319735"/>
                <a:gd name="connsiteY19" fmla="*/ 334111 h 345976"/>
                <a:gd name="connsiteX20" fmla="*/ 280733 w 319735"/>
                <a:gd name="connsiteY20" fmla="*/ 333959 h 345976"/>
                <a:gd name="connsiteX21" fmla="*/ 291458 w 319735"/>
                <a:gd name="connsiteY21" fmla="*/ 334206 h 345976"/>
                <a:gd name="connsiteX22" fmla="*/ 296345 w 319735"/>
                <a:gd name="connsiteY22" fmla="*/ 334681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19735" h="345976">
                  <a:moveTo>
                    <a:pt x="319735" y="268620"/>
                  </a:moveTo>
                  <a:lnTo>
                    <a:pt x="293455" y="268943"/>
                  </a:lnTo>
                  <a:lnTo>
                    <a:pt x="292143" y="270750"/>
                  </a:lnTo>
                  <a:cubicBezTo>
                    <a:pt x="265520" y="303533"/>
                    <a:pt x="237700" y="316863"/>
                    <a:pt x="193260" y="318290"/>
                  </a:cubicBezTo>
                  <a:cubicBezTo>
                    <a:pt x="163614" y="319355"/>
                    <a:pt x="136345" y="308382"/>
                    <a:pt x="114134" y="286875"/>
                  </a:cubicBezTo>
                  <a:cubicBezTo>
                    <a:pt x="84678" y="258351"/>
                    <a:pt x="67792" y="214215"/>
                    <a:pt x="67792" y="165743"/>
                  </a:cubicBezTo>
                  <a:cubicBezTo>
                    <a:pt x="67792" y="81883"/>
                    <a:pt x="114724" y="25538"/>
                    <a:pt x="184588" y="25538"/>
                  </a:cubicBezTo>
                  <a:cubicBezTo>
                    <a:pt x="233612" y="25538"/>
                    <a:pt x="274534" y="47103"/>
                    <a:pt x="291382" y="81864"/>
                  </a:cubicBezTo>
                  <a:lnTo>
                    <a:pt x="292675" y="84412"/>
                  </a:lnTo>
                  <a:lnTo>
                    <a:pt x="314449" y="84070"/>
                  </a:lnTo>
                  <a:lnTo>
                    <a:pt x="312338" y="14851"/>
                  </a:lnTo>
                  <a:lnTo>
                    <a:pt x="294482" y="14851"/>
                  </a:lnTo>
                  <a:lnTo>
                    <a:pt x="293550" y="15479"/>
                  </a:lnTo>
                  <a:cubicBezTo>
                    <a:pt x="291498" y="16674"/>
                    <a:pt x="289125" y="17199"/>
                    <a:pt x="286761" y="16981"/>
                  </a:cubicBezTo>
                  <a:cubicBezTo>
                    <a:pt x="282559" y="16829"/>
                    <a:pt x="275352" y="15080"/>
                    <a:pt x="266053" y="12608"/>
                  </a:cubicBezTo>
                  <a:cubicBezTo>
                    <a:pt x="246999" y="7606"/>
                    <a:pt x="218114" y="0"/>
                    <a:pt x="182668" y="0"/>
                  </a:cubicBezTo>
                  <a:cubicBezTo>
                    <a:pt x="56478" y="0"/>
                    <a:pt x="0" y="89965"/>
                    <a:pt x="0" y="179150"/>
                  </a:cubicBezTo>
                  <a:cubicBezTo>
                    <a:pt x="0" y="280486"/>
                    <a:pt x="70169" y="345977"/>
                    <a:pt x="178750" y="345977"/>
                  </a:cubicBezTo>
                  <a:cubicBezTo>
                    <a:pt x="203015" y="345977"/>
                    <a:pt x="224940" y="341888"/>
                    <a:pt x="242682" y="338580"/>
                  </a:cubicBezTo>
                  <a:cubicBezTo>
                    <a:pt x="254643" y="336336"/>
                    <a:pt x="266167" y="334320"/>
                    <a:pt x="275865" y="334111"/>
                  </a:cubicBezTo>
                  <a:cubicBezTo>
                    <a:pt x="277995" y="334111"/>
                    <a:pt x="279478" y="334111"/>
                    <a:pt x="280733" y="333959"/>
                  </a:cubicBezTo>
                  <a:cubicBezTo>
                    <a:pt x="284310" y="333862"/>
                    <a:pt x="287889" y="333944"/>
                    <a:pt x="291458" y="334206"/>
                  </a:cubicBezTo>
                  <a:lnTo>
                    <a:pt x="296345" y="334681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02713C31-844A-4158-8195-F5D5AF250E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34" name="Fußzeilenplatzhalter 2">
            <a:extLst>
              <a:ext uri="{FF2B5EF4-FFF2-40B4-BE49-F238E27FC236}">
                <a16:creationId xmlns:a16="http://schemas.microsoft.com/office/drawing/2014/main" id="{369BAB78-9971-49D2-9300-BB7BAB8C26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Senacor Technologies AG</a:t>
            </a:r>
          </a:p>
        </p:txBody>
      </p:sp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4F64D1DB-450F-4481-ADDB-B526D8FE33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30. Ma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0081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Pager_Kundenanony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 noChangeAspect="1"/>
          </p:cNvSpPr>
          <p:nvPr>
            <p:ph type="pic" sz="quarter" idx="16"/>
          </p:nvPr>
        </p:nvSpPr>
        <p:spPr>
          <a:xfrm>
            <a:off x="479425" y="1776413"/>
            <a:ext cx="1682750" cy="2057400"/>
          </a:xfrm>
        </p:spPr>
        <p:txBody>
          <a:bodyPr/>
          <a:lstStyle/>
          <a:p>
            <a:endParaRPr lang="de-DE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4587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30. Mai 2025</a:t>
            </a:fld>
            <a:endParaRPr lang="de-DE" dirty="0"/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3848824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Pager_Ergänzungsl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0877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30. Mai 2025</a:t>
            </a:fld>
            <a:endParaRPr lang="de-DE" dirty="0"/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13440406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9258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F5DC52-C560-4903-AA44-0497E08EA6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2621920"/>
            <a:ext cx="9180513" cy="997196"/>
          </a:xfrm>
        </p:spPr>
        <p:txBody>
          <a:bodyPr lIns="0" tIns="0" rIns="0" bIns="0" anchor="b">
            <a:noAutofit/>
          </a:bodyPr>
          <a:lstStyle>
            <a:lvl1pPr algn="l">
              <a:defRPr sz="3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  <a:br>
              <a:rPr lang="de-DE" dirty="0"/>
            </a:br>
            <a:r>
              <a:rPr lang="de-DE" dirty="0"/>
              <a:t>3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r>
              <a:rPr lang="de-DE" dirty="0"/>
              <a:t>, </a:t>
            </a:r>
            <a:r>
              <a:rPr lang="de-DE" dirty="0" err="1"/>
              <a:t>caps</a:t>
            </a:r>
            <a:r>
              <a:rPr lang="de-DE" dirty="0"/>
              <a:t>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05457E3-5FFF-4E34-B755-5A5C2B372E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3869599"/>
            <a:ext cx="9180513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none" baseline="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, 18 </a:t>
            </a:r>
            <a:r>
              <a:rPr lang="de-DE" dirty="0" err="1"/>
              <a:t>pt</a:t>
            </a:r>
            <a:r>
              <a:rPr lang="de-DE" dirty="0"/>
              <a:t>. Regula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E741EA5-5CD3-4B6D-A654-564CC372A38B}"/>
              </a:ext>
            </a:extLst>
          </p:cNvPr>
          <p:cNvSpPr/>
          <p:nvPr/>
        </p:nvSpPr>
        <p:spPr>
          <a:xfrm>
            <a:off x="479425" y="3726357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87D71F5-4854-4F5A-9313-38A98DA13E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902697"/>
            <a:ext cx="9144000" cy="18466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Ort, Datum eingeben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06A8657-387B-4A35-B7CB-570141289255}"/>
              </a:ext>
            </a:extLst>
          </p:cNvPr>
          <p:cNvGrpSpPr/>
          <p:nvPr userDrawn="1"/>
        </p:nvGrpSpPr>
        <p:grpSpPr>
          <a:xfrm>
            <a:off x="9320362" y="330434"/>
            <a:ext cx="2392460" cy="345976"/>
            <a:chOff x="9320362" y="330434"/>
            <a:chExt cx="2392460" cy="345976"/>
          </a:xfrm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55A68C65-F098-4E0B-A39D-AC9CB1D79DCF}"/>
                </a:ext>
              </a:extLst>
            </p:cNvPr>
            <p:cNvSpPr/>
            <p:nvPr/>
          </p:nvSpPr>
          <p:spPr>
            <a:xfrm>
              <a:off x="9908583" y="339029"/>
              <a:ext cx="347574" cy="332589"/>
            </a:xfrm>
            <a:custGeom>
              <a:avLst/>
              <a:gdLst>
                <a:gd name="connsiteX0" fmla="*/ 260728 w 347574"/>
                <a:gd name="connsiteY0" fmla="*/ 23028 h 332589"/>
                <a:gd name="connsiteX1" fmla="*/ 265026 w 347574"/>
                <a:gd name="connsiteY1" fmla="*/ 23276 h 332589"/>
                <a:gd name="connsiteX2" fmla="*/ 287313 w 347574"/>
                <a:gd name="connsiteY2" fmla="*/ 58588 h 332589"/>
                <a:gd name="connsiteX3" fmla="*/ 287313 w 347574"/>
                <a:gd name="connsiteY3" fmla="*/ 235095 h 332589"/>
                <a:gd name="connsiteX4" fmla="*/ 80267 w 347574"/>
                <a:gd name="connsiteY4" fmla="*/ 0 h 332589"/>
                <a:gd name="connsiteX5" fmla="*/ 7854 w 347574"/>
                <a:gd name="connsiteY5" fmla="*/ 0 h 332589"/>
                <a:gd name="connsiteX6" fmla="*/ 7854 w 347574"/>
                <a:gd name="connsiteY6" fmla="*/ 22572 h 332589"/>
                <a:gd name="connsiteX7" fmla="*/ 11847 w 347574"/>
                <a:gd name="connsiteY7" fmla="*/ 22971 h 332589"/>
                <a:gd name="connsiteX8" fmla="*/ 27174 w 347574"/>
                <a:gd name="connsiteY8" fmla="*/ 34381 h 332589"/>
                <a:gd name="connsiteX9" fmla="*/ 27174 w 347574"/>
                <a:gd name="connsiteY9" fmla="*/ 267764 h 332589"/>
                <a:gd name="connsiteX10" fmla="*/ 4355 w 347574"/>
                <a:gd name="connsiteY10" fmla="*/ 306024 h 332589"/>
                <a:gd name="connsiteX11" fmla="*/ 0 w 347574"/>
                <a:gd name="connsiteY11" fmla="*/ 306253 h 332589"/>
                <a:gd name="connsiteX12" fmla="*/ 0 w 347574"/>
                <a:gd name="connsiteY12" fmla="*/ 329072 h 332589"/>
                <a:gd name="connsiteX13" fmla="*/ 88577 w 347574"/>
                <a:gd name="connsiteY13" fmla="*/ 329072 h 332589"/>
                <a:gd name="connsiteX14" fmla="*/ 88577 w 347574"/>
                <a:gd name="connsiteY14" fmla="*/ 306500 h 332589"/>
                <a:gd name="connsiteX15" fmla="*/ 84374 w 347574"/>
                <a:gd name="connsiteY15" fmla="*/ 306176 h 332589"/>
                <a:gd name="connsiteX16" fmla="*/ 62677 w 347574"/>
                <a:gd name="connsiteY16" fmla="*/ 263923 h 332589"/>
                <a:gd name="connsiteX17" fmla="*/ 62677 w 347574"/>
                <a:gd name="connsiteY17" fmla="*/ 74809 h 332589"/>
                <a:gd name="connsiteX18" fmla="*/ 288967 w 347574"/>
                <a:gd name="connsiteY18" fmla="*/ 331049 h 332589"/>
                <a:gd name="connsiteX19" fmla="*/ 290336 w 347574"/>
                <a:gd name="connsiteY19" fmla="*/ 332590 h 332589"/>
                <a:gd name="connsiteX20" fmla="*/ 322816 w 347574"/>
                <a:gd name="connsiteY20" fmla="*/ 332590 h 332589"/>
                <a:gd name="connsiteX21" fmla="*/ 322816 w 347574"/>
                <a:gd name="connsiteY21" fmla="*/ 63799 h 332589"/>
                <a:gd name="connsiteX22" fmla="*/ 343391 w 347574"/>
                <a:gd name="connsiteY22" fmla="*/ 23428 h 332589"/>
                <a:gd name="connsiteX23" fmla="*/ 347574 w 347574"/>
                <a:gd name="connsiteY23" fmla="*/ 23066 h 332589"/>
                <a:gd name="connsiteX24" fmla="*/ 347574 w 347574"/>
                <a:gd name="connsiteY24" fmla="*/ 0 h 332589"/>
                <a:gd name="connsiteX25" fmla="*/ 260728 w 347574"/>
                <a:gd name="connsiteY25" fmla="*/ 0 h 332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7574" h="332589">
                  <a:moveTo>
                    <a:pt x="260728" y="23028"/>
                  </a:moveTo>
                  <a:lnTo>
                    <a:pt x="265026" y="23276"/>
                  </a:lnTo>
                  <a:cubicBezTo>
                    <a:pt x="287351" y="24550"/>
                    <a:pt x="287351" y="29094"/>
                    <a:pt x="287313" y="58588"/>
                  </a:cubicBezTo>
                  <a:lnTo>
                    <a:pt x="287313" y="235095"/>
                  </a:lnTo>
                  <a:lnTo>
                    <a:pt x="80267" y="0"/>
                  </a:lnTo>
                  <a:lnTo>
                    <a:pt x="7854" y="0"/>
                  </a:lnTo>
                  <a:lnTo>
                    <a:pt x="7854" y="22572"/>
                  </a:lnTo>
                  <a:lnTo>
                    <a:pt x="11847" y="22971"/>
                  </a:lnTo>
                  <a:cubicBezTo>
                    <a:pt x="23808" y="23789"/>
                    <a:pt x="26946" y="27782"/>
                    <a:pt x="27174" y="34381"/>
                  </a:cubicBezTo>
                  <a:lnTo>
                    <a:pt x="27174" y="267764"/>
                  </a:lnTo>
                  <a:cubicBezTo>
                    <a:pt x="27174" y="297106"/>
                    <a:pt x="27174" y="304978"/>
                    <a:pt x="4355" y="306024"/>
                  </a:cubicBezTo>
                  <a:lnTo>
                    <a:pt x="0" y="306253"/>
                  </a:lnTo>
                  <a:lnTo>
                    <a:pt x="0" y="329072"/>
                  </a:lnTo>
                  <a:lnTo>
                    <a:pt x="88577" y="329072"/>
                  </a:lnTo>
                  <a:lnTo>
                    <a:pt x="88577" y="306500"/>
                  </a:lnTo>
                  <a:lnTo>
                    <a:pt x="84374" y="306176"/>
                  </a:lnTo>
                  <a:cubicBezTo>
                    <a:pt x="62639" y="304484"/>
                    <a:pt x="62658" y="295908"/>
                    <a:pt x="62677" y="263923"/>
                  </a:cubicBezTo>
                  <a:lnTo>
                    <a:pt x="62677" y="74809"/>
                  </a:lnTo>
                  <a:lnTo>
                    <a:pt x="288967" y="331049"/>
                  </a:lnTo>
                  <a:lnTo>
                    <a:pt x="290336" y="332590"/>
                  </a:lnTo>
                  <a:lnTo>
                    <a:pt x="322816" y="332590"/>
                  </a:lnTo>
                  <a:lnTo>
                    <a:pt x="322816" y="63799"/>
                  </a:lnTo>
                  <a:cubicBezTo>
                    <a:pt x="322816" y="30996"/>
                    <a:pt x="324584" y="25215"/>
                    <a:pt x="343391" y="23428"/>
                  </a:cubicBezTo>
                  <a:lnTo>
                    <a:pt x="347574" y="23066"/>
                  </a:lnTo>
                  <a:lnTo>
                    <a:pt x="347574" y="0"/>
                  </a:lnTo>
                  <a:lnTo>
                    <a:pt x="260728" y="0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2CB80CF9-41B0-4B35-8E86-E0CD85055FB6}"/>
                </a:ext>
              </a:extLst>
            </p:cNvPr>
            <p:cNvSpPr/>
            <p:nvPr/>
          </p:nvSpPr>
          <p:spPr>
            <a:xfrm>
              <a:off x="9320362" y="330434"/>
              <a:ext cx="243956" cy="345976"/>
            </a:xfrm>
            <a:custGeom>
              <a:avLst/>
              <a:gdLst>
                <a:gd name="connsiteX0" fmla="*/ 142829 w 243956"/>
                <a:gd name="connsiteY0" fmla="*/ 140148 h 345976"/>
                <a:gd name="connsiteX1" fmla="*/ 142829 w 243956"/>
                <a:gd name="connsiteY1" fmla="*/ 140148 h 345976"/>
                <a:gd name="connsiteX2" fmla="*/ 70359 w 243956"/>
                <a:gd name="connsiteY2" fmla="*/ 75189 h 345976"/>
                <a:gd name="connsiteX3" fmla="*/ 119287 w 243956"/>
                <a:gd name="connsiteY3" fmla="*/ 27744 h 345976"/>
                <a:gd name="connsiteX4" fmla="*/ 195351 w 243956"/>
                <a:gd name="connsiteY4" fmla="*/ 64559 h 345976"/>
                <a:gd name="connsiteX5" fmla="*/ 196625 w 243956"/>
                <a:gd name="connsiteY5" fmla="*/ 67145 h 345976"/>
                <a:gd name="connsiteX6" fmla="*/ 221118 w 243956"/>
                <a:gd name="connsiteY6" fmla="*/ 66879 h 345976"/>
                <a:gd name="connsiteX7" fmla="*/ 210526 w 243956"/>
                <a:gd name="connsiteY7" fmla="*/ 5001 h 345976"/>
                <a:gd name="connsiteX8" fmla="*/ 194990 w 243956"/>
                <a:gd name="connsiteY8" fmla="*/ 5001 h 345976"/>
                <a:gd name="connsiteX9" fmla="*/ 192594 w 243956"/>
                <a:gd name="connsiteY9" fmla="*/ 6085 h 345976"/>
                <a:gd name="connsiteX10" fmla="*/ 180291 w 243956"/>
                <a:gd name="connsiteY10" fmla="*/ 8747 h 345976"/>
                <a:gd name="connsiteX11" fmla="*/ 164793 w 243956"/>
                <a:gd name="connsiteY11" fmla="*/ 6180 h 345976"/>
                <a:gd name="connsiteX12" fmla="*/ 155646 w 243956"/>
                <a:gd name="connsiteY12" fmla="*/ 4279 h 345976"/>
                <a:gd name="connsiteX13" fmla="*/ 112765 w 243956"/>
                <a:gd name="connsiteY13" fmla="*/ 0 h 345976"/>
                <a:gd name="connsiteX14" fmla="*/ 8291 w 243956"/>
                <a:gd name="connsiteY14" fmla="*/ 89508 h 345976"/>
                <a:gd name="connsiteX15" fmla="*/ 103675 w 243956"/>
                <a:gd name="connsiteY15" fmla="*/ 190749 h 345976"/>
                <a:gd name="connsiteX16" fmla="*/ 180272 w 243956"/>
                <a:gd name="connsiteY16" fmla="*/ 263333 h 345976"/>
                <a:gd name="connsiteX17" fmla="*/ 117120 w 243956"/>
                <a:gd name="connsiteY17" fmla="*/ 315076 h 345976"/>
                <a:gd name="connsiteX18" fmla="*/ 24417 w 243956"/>
                <a:gd name="connsiteY18" fmla="*/ 271586 h 345976"/>
                <a:gd name="connsiteX19" fmla="*/ 23276 w 243956"/>
                <a:gd name="connsiteY19" fmla="*/ 268734 h 345976"/>
                <a:gd name="connsiteX20" fmla="*/ 0 w 243956"/>
                <a:gd name="connsiteY20" fmla="*/ 268734 h 345976"/>
                <a:gd name="connsiteX21" fmla="*/ 10345 w 243956"/>
                <a:gd name="connsiteY21" fmla="*/ 338371 h 345976"/>
                <a:gd name="connsiteX22" fmla="*/ 29133 w 243956"/>
                <a:gd name="connsiteY22" fmla="*/ 338371 h 345976"/>
                <a:gd name="connsiteX23" fmla="*/ 30445 w 243956"/>
                <a:gd name="connsiteY23" fmla="*/ 337115 h 345976"/>
                <a:gd name="connsiteX24" fmla="*/ 42235 w 243956"/>
                <a:gd name="connsiteY24" fmla="*/ 334491 h 345976"/>
                <a:gd name="connsiteX25" fmla="*/ 62372 w 243956"/>
                <a:gd name="connsiteY25" fmla="*/ 338085 h 345976"/>
                <a:gd name="connsiteX26" fmla="*/ 120942 w 243956"/>
                <a:gd name="connsiteY26" fmla="*/ 345977 h 345976"/>
                <a:gd name="connsiteX27" fmla="*/ 243956 w 243956"/>
                <a:gd name="connsiteY27" fmla="*/ 247988 h 345976"/>
                <a:gd name="connsiteX28" fmla="*/ 142848 w 243956"/>
                <a:gd name="connsiteY28" fmla="*/ 140148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3956" h="345976">
                  <a:moveTo>
                    <a:pt x="142829" y="140148"/>
                  </a:moveTo>
                  <a:lnTo>
                    <a:pt x="142829" y="140148"/>
                  </a:lnTo>
                  <a:cubicBezTo>
                    <a:pt x="105558" y="121436"/>
                    <a:pt x="70359" y="103751"/>
                    <a:pt x="70359" y="75189"/>
                  </a:cubicBezTo>
                  <a:cubicBezTo>
                    <a:pt x="70359" y="56059"/>
                    <a:pt x="85914" y="27744"/>
                    <a:pt x="119287" y="27744"/>
                  </a:cubicBezTo>
                  <a:cubicBezTo>
                    <a:pt x="157814" y="27744"/>
                    <a:pt x="180823" y="38298"/>
                    <a:pt x="195351" y="64559"/>
                  </a:cubicBezTo>
                  <a:lnTo>
                    <a:pt x="196625" y="67145"/>
                  </a:lnTo>
                  <a:lnTo>
                    <a:pt x="221118" y="66879"/>
                  </a:lnTo>
                  <a:lnTo>
                    <a:pt x="210526" y="5001"/>
                  </a:lnTo>
                  <a:lnTo>
                    <a:pt x="194990" y="5001"/>
                  </a:lnTo>
                  <a:lnTo>
                    <a:pt x="192594" y="6085"/>
                  </a:lnTo>
                  <a:cubicBezTo>
                    <a:pt x="188783" y="7997"/>
                    <a:pt x="184551" y="8913"/>
                    <a:pt x="180291" y="8747"/>
                  </a:cubicBezTo>
                  <a:cubicBezTo>
                    <a:pt x="173825" y="8500"/>
                    <a:pt x="170973" y="7435"/>
                    <a:pt x="164793" y="6180"/>
                  </a:cubicBezTo>
                  <a:cubicBezTo>
                    <a:pt x="162168" y="5629"/>
                    <a:pt x="159259" y="4887"/>
                    <a:pt x="155646" y="4279"/>
                  </a:cubicBezTo>
                  <a:cubicBezTo>
                    <a:pt x="141528" y="1446"/>
                    <a:pt x="127164" y="13"/>
                    <a:pt x="112765" y="0"/>
                  </a:cubicBezTo>
                  <a:cubicBezTo>
                    <a:pt x="55146" y="0"/>
                    <a:pt x="8291" y="40143"/>
                    <a:pt x="8291" y="89508"/>
                  </a:cubicBezTo>
                  <a:cubicBezTo>
                    <a:pt x="8291" y="139463"/>
                    <a:pt x="56782" y="165572"/>
                    <a:pt x="103675" y="190749"/>
                  </a:cubicBezTo>
                  <a:cubicBezTo>
                    <a:pt x="143057" y="211933"/>
                    <a:pt x="180272" y="231995"/>
                    <a:pt x="180272" y="263333"/>
                  </a:cubicBezTo>
                  <a:cubicBezTo>
                    <a:pt x="180272" y="292827"/>
                    <a:pt x="153117" y="315076"/>
                    <a:pt x="117120" y="315076"/>
                  </a:cubicBezTo>
                  <a:cubicBezTo>
                    <a:pt x="67906" y="315076"/>
                    <a:pt x="37576" y="300833"/>
                    <a:pt x="24417" y="271586"/>
                  </a:cubicBezTo>
                  <a:lnTo>
                    <a:pt x="23276" y="268734"/>
                  </a:lnTo>
                  <a:lnTo>
                    <a:pt x="0" y="268734"/>
                  </a:lnTo>
                  <a:lnTo>
                    <a:pt x="10345" y="338371"/>
                  </a:lnTo>
                  <a:lnTo>
                    <a:pt x="29133" y="338371"/>
                  </a:lnTo>
                  <a:lnTo>
                    <a:pt x="30445" y="337115"/>
                  </a:lnTo>
                  <a:cubicBezTo>
                    <a:pt x="33240" y="334605"/>
                    <a:pt x="36720" y="334434"/>
                    <a:pt x="42235" y="334491"/>
                  </a:cubicBezTo>
                  <a:cubicBezTo>
                    <a:pt x="47749" y="334548"/>
                    <a:pt x="54120" y="336089"/>
                    <a:pt x="62372" y="338085"/>
                  </a:cubicBezTo>
                  <a:cubicBezTo>
                    <a:pt x="81479" y="343202"/>
                    <a:pt x="101162" y="345853"/>
                    <a:pt x="120942" y="345977"/>
                  </a:cubicBezTo>
                  <a:cubicBezTo>
                    <a:pt x="192233" y="345977"/>
                    <a:pt x="243956" y="304769"/>
                    <a:pt x="243956" y="247988"/>
                  </a:cubicBezTo>
                  <a:cubicBezTo>
                    <a:pt x="243956" y="191206"/>
                    <a:pt x="190160" y="163956"/>
                    <a:pt x="142848" y="140148"/>
                  </a:cubicBezTo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8BD7DBD3-3FED-4EFE-A58C-B496BB5ED7E8}"/>
                </a:ext>
              </a:extLst>
            </p:cNvPr>
            <p:cNvSpPr/>
            <p:nvPr/>
          </p:nvSpPr>
          <p:spPr>
            <a:xfrm>
              <a:off x="9614881" y="339067"/>
              <a:ext cx="243328" cy="329090"/>
            </a:xfrm>
            <a:custGeom>
              <a:avLst/>
              <a:gdLst>
                <a:gd name="connsiteX0" fmla="*/ 16544 w 243328"/>
                <a:gd name="connsiteY0" fmla="*/ 287103 h 329090"/>
                <a:gd name="connsiteX1" fmla="*/ 4126 w 243328"/>
                <a:gd name="connsiteY1" fmla="*/ 305397 h 329090"/>
                <a:gd name="connsiteX2" fmla="*/ 0 w 243328"/>
                <a:gd name="connsiteY2" fmla="*/ 305796 h 329090"/>
                <a:gd name="connsiteX3" fmla="*/ 0 w 243328"/>
                <a:gd name="connsiteY3" fmla="*/ 329091 h 329090"/>
                <a:gd name="connsiteX4" fmla="*/ 235342 w 243328"/>
                <a:gd name="connsiteY4" fmla="*/ 329091 h 329090"/>
                <a:gd name="connsiteX5" fmla="*/ 243329 w 243328"/>
                <a:gd name="connsiteY5" fmla="*/ 263276 h 329090"/>
                <a:gd name="connsiteX6" fmla="*/ 218608 w 243328"/>
                <a:gd name="connsiteY6" fmla="*/ 263467 h 329090"/>
                <a:gd name="connsiteX7" fmla="*/ 217600 w 243328"/>
                <a:gd name="connsiteY7" fmla="*/ 266604 h 329090"/>
                <a:gd name="connsiteX8" fmla="*/ 164698 w 243328"/>
                <a:gd name="connsiteY8" fmla="*/ 296897 h 329090"/>
                <a:gd name="connsiteX9" fmla="*/ 104284 w 243328"/>
                <a:gd name="connsiteY9" fmla="*/ 296897 h 329090"/>
                <a:gd name="connsiteX10" fmla="*/ 80000 w 243328"/>
                <a:gd name="connsiteY10" fmla="*/ 264398 h 329090"/>
                <a:gd name="connsiteX11" fmla="*/ 80000 w 243328"/>
                <a:gd name="connsiteY11" fmla="*/ 175251 h 329090"/>
                <a:gd name="connsiteX12" fmla="*/ 144655 w 243328"/>
                <a:gd name="connsiteY12" fmla="*/ 175251 h 329090"/>
                <a:gd name="connsiteX13" fmla="*/ 174852 w 243328"/>
                <a:gd name="connsiteY13" fmla="*/ 193126 h 329090"/>
                <a:gd name="connsiteX14" fmla="*/ 175537 w 243328"/>
                <a:gd name="connsiteY14" fmla="*/ 196930 h 329090"/>
                <a:gd name="connsiteX15" fmla="*/ 199079 w 243328"/>
                <a:gd name="connsiteY15" fmla="*/ 196930 h 329090"/>
                <a:gd name="connsiteX16" fmla="*/ 199079 w 243328"/>
                <a:gd name="connsiteY16" fmla="*/ 122767 h 329090"/>
                <a:gd name="connsiteX17" fmla="*/ 175917 w 243328"/>
                <a:gd name="connsiteY17" fmla="*/ 122767 h 329090"/>
                <a:gd name="connsiteX18" fmla="*/ 175347 w 243328"/>
                <a:gd name="connsiteY18" fmla="*/ 126570 h 329090"/>
                <a:gd name="connsiteX19" fmla="*/ 144655 w 243328"/>
                <a:gd name="connsiteY19" fmla="*/ 143133 h 329090"/>
                <a:gd name="connsiteX20" fmla="*/ 80000 w 243328"/>
                <a:gd name="connsiteY20" fmla="*/ 143133 h 329090"/>
                <a:gd name="connsiteX21" fmla="*/ 80000 w 243328"/>
                <a:gd name="connsiteY21" fmla="*/ 32213 h 329090"/>
                <a:gd name="connsiteX22" fmla="*/ 166599 w 243328"/>
                <a:gd name="connsiteY22" fmla="*/ 32213 h 329090"/>
                <a:gd name="connsiteX23" fmla="*/ 201950 w 243328"/>
                <a:gd name="connsiteY23" fmla="*/ 55603 h 329090"/>
                <a:gd name="connsiteX24" fmla="*/ 202882 w 243328"/>
                <a:gd name="connsiteY24" fmla="*/ 58950 h 329090"/>
                <a:gd name="connsiteX25" fmla="*/ 227603 w 243328"/>
                <a:gd name="connsiteY25" fmla="*/ 58950 h 329090"/>
                <a:gd name="connsiteX26" fmla="*/ 223533 w 243328"/>
                <a:gd name="connsiteY26" fmla="*/ 0 h 329090"/>
                <a:gd name="connsiteX27" fmla="*/ 361 w 243328"/>
                <a:gd name="connsiteY27" fmla="*/ 0 h 329090"/>
                <a:gd name="connsiteX28" fmla="*/ 361 w 243328"/>
                <a:gd name="connsiteY28" fmla="*/ 23066 h 329090"/>
                <a:gd name="connsiteX29" fmla="*/ 4545 w 243328"/>
                <a:gd name="connsiteY29" fmla="*/ 23352 h 329090"/>
                <a:gd name="connsiteX30" fmla="*/ 16582 w 243328"/>
                <a:gd name="connsiteY30" fmla="*/ 52655 h 32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43328" h="329090">
                  <a:moveTo>
                    <a:pt x="16544" y="287103"/>
                  </a:moveTo>
                  <a:cubicBezTo>
                    <a:pt x="16202" y="299939"/>
                    <a:pt x="15878" y="304218"/>
                    <a:pt x="4126" y="305397"/>
                  </a:cubicBezTo>
                  <a:lnTo>
                    <a:pt x="0" y="305796"/>
                  </a:lnTo>
                  <a:lnTo>
                    <a:pt x="0" y="329091"/>
                  </a:lnTo>
                  <a:lnTo>
                    <a:pt x="235342" y="329091"/>
                  </a:lnTo>
                  <a:lnTo>
                    <a:pt x="243329" y="263276"/>
                  </a:lnTo>
                  <a:lnTo>
                    <a:pt x="218608" y="263467"/>
                  </a:lnTo>
                  <a:lnTo>
                    <a:pt x="217600" y="266604"/>
                  </a:lnTo>
                  <a:cubicBezTo>
                    <a:pt x="207826" y="297239"/>
                    <a:pt x="197766" y="297144"/>
                    <a:pt x="164698" y="296897"/>
                  </a:cubicBezTo>
                  <a:lnTo>
                    <a:pt x="104284" y="296897"/>
                  </a:lnTo>
                  <a:cubicBezTo>
                    <a:pt x="80666" y="296897"/>
                    <a:pt x="80000" y="292276"/>
                    <a:pt x="80000" y="264398"/>
                  </a:cubicBezTo>
                  <a:lnTo>
                    <a:pt x="80000" y="175251"/>
                  </a:lnTo>
                  <a:lnTo>
                    <a:pt x="144655" y="175251"/>
                  </a:lnTo>
                  <a:cubicBezTo>
                    <a:pt x="166181" y="175251"/>
                    <a:pt x="170688" y="175727"/>
                    <a:pt x="174852" y="193126"/>
                  </a:cubicBezTo>
                  <a:lnTo>
                    <a:pt x="175537" y="196930"/>
                  </a:lnTo>
                  <a:lnTo>
                    <a:pt x="199079" y="196930"/>
                  </a:lnTo>
                  <a:lnTo>
                    <a:pt x="199079" y="122767"/>
                  </a:lnTo>
                  <a:lnTo>
                    <a:pt x="175917" y="122767"/>
                  </a:lnTo>
                  <a:lnTo>
                    <a:pt x="175347" y="126570"/>
                  </a:lnTo>
                  <a:cubicBezTo>
                    <a:pt x="172608" y="141935"/>
                    <a:pt x="167588" y="143133"/>
                    <a:pt x="144655" y="143133"/>
                  </a:cubicBezTo>
                  <a:lnTo>
                    <a:pt x="80000" y="143133"/>
                  </a:lnTo>
                  <a:lnTo>
                    <a:pt x="80000" y="32213"/>
                  </a:lnTo>
                  <a:lnTo>
                    <a:pt x="166599" y="32213"/>
                  </a:lnTo>
                  <a:cubicBezTo>
                    <a:pt x="188829" y="32213"/>
                    <a:pt x="196112" y="32213"/>
                    <a:pt x="201950" y="55603"/>
                  </a:cubicBezTo>
                  <a:lnTo>
                    <a:pt x="202882" y="58950"/>
                  </a:lnTo>
                  <a:lnTo>
                    <a:pt x="227603" y="58950"/>
                  </a:lnTo>
                  <a:lnTo>
                    <a:pt x="223533" y="0"/>
                  </a:lnTo>
                  <a:lnTo>
                    <a:pt x="361" y="0"/>
                  </a:lnTo>
                  <a:lnTo>
                    <a:pt x="361" y="23066"/>
                  </a:lnTo>
                  <a:lnTo>
                    <a:pt x="4545" y="23352"/>
                  </a:lnTo>
                  <a:cubicBezTo>
                    <a:pt x="16411" y="24778"/>
                    <a:pt x="16430" y="29056"/>
                    <a:pt x="16582" y="52655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4D0B633B-6A5A-4E7E-9D30-099D94251414}"/>
                </a:ext>
              </a:extLst>
            </p:cNvPr>
            <p:cNvSpPr/>
            <p:nvPr/>
          </p:nvSpPr>
          <p:spPr>
            <a:xfrm>
              <a:off x="11361159" y="334047"/>
              <a:ext cx="351663" cy="338788"/>
            </a:xfrm>
            <a:custGeom>
              <a:avLst/>
              <a:gdLst>
                <a:gd name="connsiteX0" fmla="*/ 236768 w 351663"/>
                <a:gd name="connsiteY0" fmla="*/ 212960 h 338788"/>
                <a:gd name="connsiteX1" fmla="*/ 204061 w 351663"/>
                <a:gd name="connsiteY1" fmla="*/ 181793 h 338788"/>
                <a:gd name="connsiteX2" fmla="*/ 264170 w 351663"/>
                <a:gd name="connsiteY2" fmla="*/ 96753 h 338788"/>
                <a:gd name="connsiteX3" fmla="*/ 121417 w 351663"/>
                <a:gd name="connsiteY3" fmla="*/ 0 h 338788"/>
                <a:gd name="connsiteX4" fmla="*/ 59007 w 351663"/>
                <a:gd name="connsiteY4" fmla="*/ 1027 h 338788"/>
                <a:gd name="connsiteX5" fmla="*/ 24607 w 351663"/>
                <a:gd name="connsiteY5" fmla="*/ 2700 h 338788"/>
                <a:gd name="connsiteX6" fmla="*/ 10478 w 351663"/>
                <a:gd name="connsiteY6" fmla="*/ 3651 h 338788"/>
                <a:gd name="connsiteX7" fmla="*/ 10478 w 351663"/>
                <a:gd name="connsiteY7" fmla="*/ 26946 h 338788"/>
                <a:gd name="connsiteX8" fmla="*/ 14585 w 351663"/>
                <a:gd name="connsiteY8" fmla="*/ 27136 h 338788"/>
                <a:gd name="connsiteX9" fmla="*/ 28752 w 351663"/>
                <a:gd name="connsiteY9" fmla="*/ 40713 h 338788"/>
                <a:gd name="connsiteX10" fmla="*/ 28562 w 351663"/>
                <a:gd name="connsiteY10" fmla="*/ 281722 h 338788"/>
                <a:gd name="connsiteX11" fmla="*/ 4336 w 351663"/>
                <a:gd name="connsiteY11" fmla="*/ 311083 h 338788"/>
                <a:gd name="connsiteX12" fmla="*/ 0 w 351663"/>
                <a:gd name="connsiteY12" fmla="*/ 311311 h 338788"/>
                <a:gd name="connsiteX13" fmla="*/ 0 w 351663"/>
                <a:gd name="connsiteY13" fmla="*/ 334130 h 338788"/>
                <a:gd name="connsiteX14" fmla="*/ 124175 w 351663"/>
                <a:gd name="connsiteY14" fmla="*/ 334130 h 338788"/>
                <a:gd name="connsiteX15" fmla="*/ 124175 w 351663"/>
                <a:gd name="connsiteY15" fmla="*/ 311178 h 338788"/>
                <a:gd name="connsiteX16" fmla="*/ 119877 w 351663"/>
                <a:gd name="connsiteY16" fmla="*/ 311178 h 338788"/>
                <a:gd name="connsiteX17" fmla="*/ 94833 w 351663"/>
                <a:gd name="connsiteY17" fmla="*/ 267004 h 338788"/>
                <a:gd name="connsiteX18" fmla="*/ 94833 w 351663"/>
                <a:gd name="connsiteY18" fmla="*/ 201760 h 338788"/>
                <a:gd name="connsiteX19" fmla="*/ 134272 w 351663"/>
                <a:gd name="connsiteY19" fmla="*/ 201417 h 338788"/>
                <a:gd name="connsiteX20" fmla="*/ 187517 w 351663"/>
                <a:gd name="connsiteY20" fmla="*/ 249414 h 338788"/>
                <a:gd name="connsiteX21" fmla="*/ 214501 w 351663"/>
                <a:gd name="connsiteY21" fmla="*/ 276626 h 338788"/>
                <a:gd name="connsiteX22" fmla="*/ 230569 w 351663"/>
                <a:gd name="connsiteY22" fmla="*/ 293417 h 338788"/>
                <a:gd name="connsiteX23" fmla="*/ 241731 w 351663"/>
                <a:gd name="connsiteY23" fmla="*/ 305796 h 338788"/>
                <a:gd name="connsiteX24" fmla="*/ 327836 w 351663"/>
                <a:gd name="connsiteY24" fmla="*/ 338789 h 338788"/>
                <a:gd name="connsiteX25" fmla="*/ 346491 w 351663"/>
                <a:gd name="connsiteY25" fmla="*/ 338523 h 338788"/>
                <a:gd name="connsiteX26" fmla="*/ 351663 w 351663"/>
                <a:gd name="connsiteY26" fmla="*/ 338409 h 338788"/>
                <a:gd name="connsiteX27" fmla="*/ 351663 w 351663"/>
                <a:gd name="connsiteY27" fmla="*/ 315494 h 338788"/>
                <a:gd name="connsiteX28" fmla="*/ 346852 w 351663"/>
                <a:gd name="connsiteY28" fmla="*/ 315057 h 338788"/>
                <a:gd name="connsiteX29" fmla="*/ 346852 w 351663"/>
                <a:gd name="connsiteY29" fmla="*/ 315057 h 338788"/>
                <a:gd name="connsiteX30" fmla="*/ 309181 w 351663"/>
                <a:gd name="connsiteY30" fmla="*/ 287807 h 338788"/>
                <a:gd name="connsiteX31" fmla="*/ 278014 w 351663"/>
                <a:gd name="connsiteY31" fmla="*/ 255004 h 338788"/>
                <a:gd name="connsiteX32" fmla="*/ 193374 w 351663"/>
                <a:gd name="connsiteY32" fmla="*/ 101907 h 338788"/>
                <a:gd name="connsiteX33" fmla="*/ 106756 w 351663"/>
                <a:gd name="connsiteY33" fmla="*/ 178769 h 338788"/>
                <a:gd name="connsiteX34" fmla="*/ 94871 w 351663"/>
                <a:gd name="connsiteY34" fmla="*/ 178256 h 338788"/>
                <a:gd name="connsiteX35" fmla="*/ 94871 w 351663"/>
                <a:gd name="connsiteY35" fmla="*/ 24911 h 338788"/>
                <a:gd name="connsiteX36" fmla="*/ 116226 w 351663"/>
                <a:gd name="connsiteY36" fmla="*/ 24664 h 338788"/>
                <a:gd name="connsiteX37" fmla="*/ 193374 w 351663"/>
                <a:gd name="connsiteY37" fmla="*/ 101907 h 33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51663" h="338788">
                  <a:moveTo>
                    <a:pt x="236768" y="212960"/>
                  </a:moveTo>
                  <a:cubicBezTo>
                    <a:pt x="233193" y="209366"/>
                    <a:pt x="215470" y="191586"/>
                    <a:pt x="204061" y="181793"/>
                  </a:cubicBezTo>
                  <a:cubicBezTo>
                    <a:pt x="243994" y="162986"/>
                    <a:pt x="264170" y="134386"/>
                    <a:pt x="264170" y="96753"/>
                  </a:cubicBezTo>
                  <a:cubicBezTo>
                    <a:pt x="264170" y="67659"/>
                    <a:pt x="250270" y="0"/>
                    <a:pt x="121417" y="0"/>
                  </a:cubicBezTo>
                  <a:cubicBezTo>
                    <a:pt x="110863" y="0"/>
                    <a:pt x="86162" y="0"/>
                    <a:pt x="59007" y="1027"/>
                  </a:cubicBezTo>
                  <a:cubicBezTo>
                    <a:pt x="42634" y="1749"/>
                    <a:pt x="33031" y="2263"/>
                    <a:pt x="24607" y="2700"/>
                  </a:cubicBezTo>
                  <a:lnTo>
                    <a:pt x="10478" y="3651"/>
                  </a:lnTo>
                  <a:lnTo>
                    <a:pt x="10478" y="26946"/>
                  </a:lnTo>
                  <a:lnTo>
                    <a:pt x="14585" y="27136"/>
                  </a:lnTo>
                  <a:cubicBezTo>
                    <a:pt x="24759" y="27877"/>
                    <a:pt x="28619" y="30521"/>
                    <a:pt x="28752" y="40713"/>
                  </a:cubicBezTo>
                  <a:lnTo>
                    <a:pt x="28562" y="281722"/>
                  </a:lnTo>
                  <a:cubicBezTo>
                    <a:pt x="27935" y="301708"/>
                    <a:pt x="26660" y="310037"/>
                    <a:pt x="4336" y="311083"/>
                  </a:cubicBezTo>
                  <a:lnTo>
                    <a:pt x="0" y="311311"/>
                  </a:lnTo>
                  <a:lnTo>
                    <a:pt x="0" y="334130"/>
                  </a:lnTo>
                  <a:lnTo>
                    <a:pt x="124175" y="334130"/>
                  </a:lnTo>
                  <a:lnTo>
                    <a:pt x="124175" y="311178"/>
                  </a:lnTo>
                  <a:lnTo>
                    <a:pt x="119877" y="311178"/>
                  </a:lnTo>
                  <a:cubicBezTo>
                    <a:pt x="94814" y="309942"/>
                    <a:pt x="94833" y="304218"/>
                    <a:pt x="94833" y="267004"/>
                  </a:cubicBezTo>
                  <a:lnTo>
                    <a:pt x="94833" y="201760"/>
                  </a:lnTo>
                  <a:cubicBezTo>
                    <a:pt x="107973" y="202526"/>
                    <a:pt x="121151" y="202410"/>
                    <a:pt x="134272" y="201417"/>
                  </a:cubicBezTo>
                  <a:cubicBezTo>
                    <a:pt x="154334" y="216402"/>
                    <a:pt x="161864" y="223514"/>
                    <a:pt x="187517" y="249414"/>
                  </a:cubicBezTo>
                  <a:lnTo>
                    <a:pt x="214501" y="276626"/>
                  </a:lnTo>
                  <a:cubicBezTo>
                    <a:pt x="220624" y="282825"/>
                    <a:pt x="225910" y="288454"/>
                    <a:pt x="230569" y="293417"/>
                  </a:cubicBezTo>
                  <a:cubicBezTo>
                    <a:pt x="234791" y="297904"/>
                    <a:pt x="238461" y="302088"/>
                    <a:pt x="241731" y="305796"/>
                  </a:cubicBezTo>
                  <a:cubicBezTo>
                    <a:pt x="261698" y="328444"/>
                    <a:pt x="270826" y="338789"/>
                    <a:pt x="327836" y="338789"/>
                  </a:cubicBezTo>
                  <a:cubicBezTo>
                    <a:pt x="333541" y="338789"/>
                    <a:pt x="339607" y="338789"/>
                    <a:pt x="346491" y="338523"/>
                  </a:cubicBezTo>
                  <a:lnTo>
                    <a:pt x="351663" y="338409"/>
                  </a:lnTo>
                  <a:lnTo>
                    <a:pt x="351663" y="315494"/>
                  </a:lnTo>
                  <a:lnTo>
                    <a:pt x="346852" y="315057"/>
                  </a:lnTo>
                  <a:lnTo>
                    <a:pt x="346852" y="315057"/>
                  </a:lnTo>
                  <a:cubicBezTo>
                    <a:pt x="333408" y="313802"/>
                    <a:pt x="325326" y="305112"/>
                    <a:pt x="309181" y="287807"/>
                  </a:cubicBezTo>
                  <a:lnTo>
                    <a:pt x="278014" y="255004"/>
                  </a:lnTo>
                  <a:close/>
                  <a:moveTo>
                    <a:pt x="193374" y="101907"/>
                  </a:moveTo>
                  <a:cubicBezTo>
                    <a:pt x="193374" y="154676"/>
                    <a:pt x="169357" y="176354"/>
                    <a:pt x="106756" y="178769"/>
                  </a:cubicBezTo>
                  <a:cubicBezTo>
                    <a:pt x="104854" y="178769"/>
                    <a:pt x="99416" y="178769"/>
                    <a:pt x="94871" y="178256"/>
                  </a:cubicBezTo>
                  <a:lnTo>
                    <a:pt x="94871" y="24911"/>
                  </a:lnTo>
                  <a:cubicBezTo>
                    <a:pt x="101089" y="24664"/>
                    <a:pt x="110635" y="24664"/>
                    <a:pt x="116226" y="24664"/>
                  </a:cubicBezTo>
                  <a:cubicBezTo>
                    <a:pt x="167645" y="24645"/>
                    <a:pt x="193374" y="50621"/>
                    <a:pt x="193374" y="101907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1AA03F2-117E-4EAF-9F82-422645DDC65D}"/>
                </a:ext>
              </a:extLst>
            </p:cNvPr>
            <p:cNvSpPr/>
            <p:nvPr/>
          </p:nvSpPr>
          <p:spPr>
            <a:xfrm>
              <a:off x="10279262" y="339029"/>
              <a:ext cx="336564" cy="329223"/>
            </a:xfrm>
            <a:custGeom>
              <a:avLst/>
              <a:gdLst>
                <a:gd name="connsiteX0" fmla="*/ 197272 w 336564"/>
                <a:gd name="connsiteY0" fmla="*/ 0 h 329223"/>
                <a:gd name="connsiteX1" fmla="*/ 147450 w 336564"/>
                <a:gd name="connsiteY1" fmla="*/ 0 h 329223"/>
                <a:gd name="connsiteX2" fmla="*/ 40580 w 336564"/>
                <a:gd name="connsiteY2" fmla="*/ 267289 h 329223"/>
                <a:gd name="connsiteX3" fmla="*/ 4241 w 336564"/>
                <a:gd name="connsiteY3" fmla="*/ 306119 h 329223"/>
                <a:gd name="connsiteX4" fmla="*/ 0 w 336564"/>
                <a:gd name="connsiteY4" fmla="*/ 306405 h 329223"/>
                <a:gd name="connsiteX5" fmla="*/ 0 w 336564"/>
                <a:gd name="connsiteY5" fmla="*/ 329224 h 329223"/>
                <a:gd name="connsiteX6" fmla="*/ 92171 w 336564"/>
                <a:gd name="connsiteY6" fmla="*/ 329224 h 329223"/>
                <a:gd name="connsiteX7" fmla="*/ 92171 w 336564"/>
                <a:gd name="connsiteY7" fmla="*/ 306576 h 329223"/>
                <a:gd name="connsiteX8" fmla="*/ 88025 w 336564"/>
                <a:gd name="connsiteY8" fmla="*/ 306214 h 329223"/>
                <a:gd name="connsiteX9" fmla="*/ 67469 w 336564"/>
                <a:gd name="connsiteY9" fmla="*/ 290602 h 329223"/>
                <a:gd name="connsiteX10" fmla="*/ 72394 w 336564"/>
                <a:gd name="connsiteY10" fmla="*/ 272081 h 329223"/>
                <a:gd name="connsiteX11" fmla="*/ 97115 w 336564"/>
                <a:gd name="connsiteY11" fmla="*/ 208263 h 329223"/>
                <a:gd name="connsiteX12" fmla="*/ 210716 w 336564"/>
                <a:gd name="connsiteY12" fmla="*/ 208263 h 329223"/>
                <a:gd name="connsiteX13" fmla="*/ 235437 w 336564"/>
                <a:gd name="connsiteY13" fmla="*/ 271929 h 329223"/>
                <a:gd name="connsiteX14" fmla="*/ 241807 w 336564"/>
                <a:gd name="connsiteY14" fmla="*/ 291991 h 329223"/>
                <a:gd name="connsiteX15" fmla="*/ 241960 w 336564"/>
                <a:gd name="connsiteY15" fmla="*/ 292751 h 329223"/>
                <a:gd name="connsiteX16" fmla="*/ 240267 w 336564"/>
                <a:gd name="connsiteY16" fmla="*/ 300224 h 329223"/>
                <a:gd name="connsiteX17" fmla="*/ 221879 w 336564"/>
                <a:gd name="connsiteY17" fmla="*/ 305815 h 329223"/>
                <a:gd name="connsiteX18" fmla="*/ 217695 w 336564"/>
                <a:gd name="connsiteY18" fmla="*/ 306138 h 329223"/>
                <a:gd name="connsiteX19" fmla="*/ 217695 w 336564"/>
                <a:gd name="connsiteY19" fmla="*/ 329148 h 329223"/>
                <a:gd name="connsiteX20" fmla="*/ 336564 w 336564"/>
                <a:gd name="connsiteY20" fmla="*/ 329148 h 329223"/>
                <a:gd name="connsiteX21" fmla="*/ 336564 w 336564"/>
                <a:gd name="connsiteY21" fmla="*/ 306557 h 329223"/>
                <a:gd name="connsiteX22" fmla="*/ 332229 w 336564"/>
                <a:gd name="connsiteY22" fmla="*/ 306329 h 329223"/>
                <a:gd name="connsiteX23" fmla="*/ 299901 w 336564"/>
                <a:gd name="connsiteY23" fmla="*/ 272537 h 329223"/>
                <a:gd name="connsiteX24" fmla="*/ 197614 w 336564"/>
                <a:gd name="connsiteY24" fmla="*/ 174091 h 329223"/>
                <a:gd name="connsiteX25" fmla="*/ 110141 w 336564"/>
                <a:gd name="connsiteY25" fmla="*/ 174091 h 329223"/>
                <a:gd name="connsiteX26" fmla="*/ 154562 w 336564"/>
                <a:gd name="connsiteY26" fmla="*/ 60129 h 329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6564" h="329223">
                  <a:moveTo>
                    <a:pt x="197272" y="0"/>
                  </a:moveTo>
                  <a:lnTo>
                    <a:pt x="147450" y="0"/>
                  </a:lnTo>
                  <a:lnTo>
                    <a:pt x="40580" y="267289"/>
                  </a:lnTo>
                  <a:cubicBezTo>
                    <a:pt x="27896" y="298912"/>
                    <a:pt x="25595" y="304617"/>
                    <a:pt x="4241" y="306119"/>
                  </a:cubicBezTo>
                  <a:lnTo>
                    <a:pt x="0" y="306405"/>
                  </a:lnTo>
                  <a:lnTo>
                    <a:pt x="0" y="329224"/>
                  </a:lnTo>
                  <a:lnTo>
                    <a:pt x="92171" y="329224"/>
                  </a:lnTo>
                  <a:lnTo>
                    <a:pt x="92171" y="306576"/>
                  </a:lnTo>
                  <a:lnTo>
                    <a:pt x="88025" y="306214"/>
                  </a:lnTo>
                  <a:cubicBezTo>
                    <a:pt x="70911" y="304313"/>
                    <a:pt x="66936" y="297809"/>
                    <a:pt x="67469" y="290602"/>
                  </a:cubicBezTo>
                  <a:cubicBezTo>
                    <a:pt x="67811" y="286096"/>
                    <a:pt x="69161" y="280790"/>
                    <a:pt x="72394" y="272081"/>
                  </a:cubicBezTo>
                  <a:lnTo>
                    <a:pt x="97115" y="208263"/>
                  </a:lnTo>
                  <a:lnTo>
                    <a:pt x="210716" y="208263"/>
                  </a:lnTo>
                  <a:lnTo>
                    <a:pt x="235437" y="271929"/>
                  </a:lnTo>
                  <a:cubicBezTo>
                    <a:pt x="239411" y="283205"/>
                    <a:pt x="240286" y="285392"/>
                    <a:pt x="241807" y="291991"/>
                  </a:cubicBezTo>
                  <a:lnTo>
                    <a:pt x="241960" y="292751"/>
                  </a:lnTo>
                  <a:cubicBezTo>
                    <a:pt x="242587" y="295370"/>
                    <a:pt x="241961" y="298131"/>
                    <a:pt x="240267" y="300224"/>
                  </a:cubicBezTo>
                  <a:cubicBezTo>
                    <a:pt x="237871" y="303229"/>
                    <a:pt x="231957" y="305035"/>
                    <a:pt x="221879" y="305815"/>
                  </a:cubicBezTo>
                  <a:lnTo>
                    <a:pt x="217695" y="306138"/>
                  </a:lnTo>
                  <a:lnTo>
                    <a:pt x="217695" y="329148"/>
                  </a:lnTo>
                  <a:lnTo>
                    <a:pt x="336564" y="329148"/>
                  </a:lnTo>
                  <a:lnTo>
                    <a:pt x="336564" y="306557"/>
                  </a:lnTo>
                  <a:lnTo>
                    <a:pt x="332229" y="306329"/>
                  </a:lnTo>
                  <a:cubicBezTo>
                    <a:pt x="311901" y="305397"/>
                    <a:pt x="310056" y="300377"/>
                    <a:pt x="299901" y="272537"/>
                  </a:cubicBezTo>
                  <a:close/>
                  <a:moveTo>
                    <a:pt x="197614" y="174091"/>
                  </a:moveTo>
                  <a:lnTo>
                    <a:pt x="110141" y="174091"/>
                  </a:lnTo>
                  <a:lnTo>
                    <a:pt x="154562" y="60129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F4478C33-4DE7-48E1-878B-B4AFCDE1C843}"/>
                </a:ext>
              </a:extLst>
            </p:cNvPr>
            <p:cNvSpPr/>
            <p:nvPr/>
          </p:nvSpPr>
          <p:spPr>
            <a:xfrm>
              <a:off x="10972339" y="330434"/>
              <a:ext cx="355447" cy="345976"/>
            </a:xfrm>
            <a:custGeom>
              <a:avLst/>
              <a:gdLst>
                <a:gd name="connsiteX0" fmla="*/ 177724 w 355447"/>
                <a:gd name="connsiteY0" fmla="*/ 0 h 345976"/>
                <a:gd name="connsiteX1" fmla="*/ 0 w 355447"/>
                <a:gd name="connsiteY1" fmla="*/ 181755 h 345976"/>
                <a:gd name="connsiteX2" fmla="*/ 175822 w 355447"/>
                <a:gd name="connsiteY2" fmla="*/ 345977 h 345976"/>
                <a:gd name="connsiteX3" fmla="*/ 355447 w 355447"/>
                <a:gd name="connsiteY3" fmla="*/ 167322 h 345976"/>
                <a:gd name="connsiteX4" fmla="*/ 177724 w 355447"/>
                <a:gd name="connsiteY4" fmla="*/ 0 h 345976"/>
                <a:gd name="connsiteX5" fmla="*/ 288948 w 355447"/>
                <a:gd name="connsiteY5" fmla="*/ 180196 h 345976"/>
                <a:gd name="connsiteX6" fmla="*/ 183409 w 355447"/>
                <a:gd name="connsiteY6" fmla="*/ 320381 h 345976"/>
                <a:gd name="connsiteX7" fmla="*/ 66518 w 355447"/>
                <a:gd name="connsiteY7" fmla="*/ 167835 h 345976"/>
                <a:gd name="connsiteX8" fmla="*/ 173920 w 355447"/>
                <a:gd name="connsiteY8" fmla="*/ 25577 h 345976"/>
                <a:gd name="connsiteX9" fmla="*/ 288948 w 355447"/>
                <a:gd name="connsiteY9" fmla="*/ 180196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447" h="345976">
                  <a:moveTo>
                    <a:pt x="177724" y="0"/>
                  </a:moveTo>
                  <a:cubicBezTo>
                    <a:pt x="74676" y="0"/>
                    <a:pt x="0" y="76425"/>
                    <a:pt x="0" y="181755"/>
                  </a:cubicBezTo>
                  <a:cubicBezTo>
                    <a:pt x="0" y="276835"/>
                    <a:pt x="73953" y="345977"/>
                    <a:pt x="175822" y="345977"/>
                  </a:cubicBezTo>
                  <a:cubicBezTo>
                    <a:pt x="278223" y="345977"/>
                    <a:pt x="355447" y="269171"/>
                    <a:pt x="355447" y="167322"/>
                  </a:cubicBezTo>
                  <a:cubicBezTo>
                    <a:pt x="355447" y="68800"/>
                    <a:pt x="282369" y="0"/>
                    <a:pt x="177724" y="0"/>
                  </a:cubicBezTo>
                  <a:close/>
                  <a:moveTo>
                    <a:pt x="288948" y="180196"/>
                  </a:moveTo>
                  <a:cubicBezTo>
                    <a:pt x="288948" y="264056"/>
                    <a:pt x="246543" y="320381"/>
                    <a:pt x="183409" y="320381"/>
                  </a:cubicBezTo>
                  <a:cubicBezTo>
                    <a:pt x="125316" y="320381"/>
                    <a:pt x="66518" y="267973"/>
                    <a:pt x="66518" y="167835"/>
                  </a:cubicBezTo>
                  <a:cubicBezTo>
                    <a:pt x="66518" y="80095"/>
                    <a:pt x="107669" y="25577"/>
                    <a:pt x="173920" y="25577"/>
                  </a:cubicBezTo>
                  <a:cubicBezTo>
                    <a:pt x="241636" y="25577"/>
                    <a:pt x="288948" y="89166"/>
                    <a:pt x="288948" y="180196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ED1EB51D-7F27-4FE9-88E5-C9AA3C678DEF}"/>
                </a:ext>
              </a:extLst>
            </p:cNvPr>
            <p:cNvSpPr/>
            <p:nvPr/>
          </p:nvSpPr>
          <p:spPr>
            <a:xfrm>
              <a:off x="10629233" y="330434"/>
              <a:ext cx="319735" cy="345976"/>
            </a:xfrm>
            <a:custGeom>
              <a:avLst/>
              <a:gdLst>
                <a:gd name="connsiteX0" fmla="*/ 319735 w 319735"/>
                <a:gd name="connsiteY0" fmla="*/ 268620 h 345976"/>
                <a:gd name="connsiteX1" fmla="*/ 293455 w 319735"/>
                <a:gd name="connsiteY1" fmla="*/ 268943 h 345976"/>
                <a:gd name="connsiteX2" fmla="*/ 292143 w 319735"/>
                <a:gd name="connsiteY2" fmla="*/ 270750 h 345976"/>
                <a:gd name="connsiteX3" fmla="*/ 193260 w 319735"/>
                <a:gd name="connsiteY3" fmla="*/ 318290 h 345976"/>
                <a:gd name="connsiteX4" fmla="*/ 114134 w 319735"/>
                <a:gd name="connsiteY4" fmla="*/ 286875 h 345976"/>
                <a:gd name="connsiteX5" fmla="*/ 67792 w 319735"/>
                <a:gd name="connsiteY5" fmla="*/ 165743 h 345976"/>
                <a:gd name="connsiteX6" fmla="*/ 184588 w 319735"/>
                <a:gd name="connsiteY6" fmla="*/ 25538 h 345976"/>
                <a:gd name="connsiteX7" fmla="*/ 291382 w 319735"/>
                <a:gd name="connsiteY7" fmla="*/ 81864 h 345976"/>
                <a:gd name="connsiteX8" fmla="*/ 292675 w 319735"/>
                <a:gd name="connsiteY8" fmla="*/ 84412 h 345976"/>
                <a:gd name="connsiteX9" fmla="*/ 314449 w 319735"/>
                <a:gd name="connsiteY9" fmla="*/ 84070 h 345976"/>
                <a:gd name="connsiteX10" fmla="*/ 312338 w 319735"/>
                <a:gd name="connsiteY10" fmla="*/ 14851 h 345976"/>
                <a:gd name="connsiteX11" fmla="*/ 294482 w 319735"/>
                <a:gd name="connsiteY11" fmla="*/ 14851 h 345976"/>
                <a:gd name="connsiteX12" fmla="*/ 293550 w 319735"/>
                <a:gd name="connsiteY12" fmla="*/ 15479 h 345976"/>
                <a:gd name="connsiteX13" fmla="*/ 286761 w 319735"/>
                <a:gd name="connsiteY13" fmla="*/ 16981 h 345976"/>
                <a:gd name="connsiteX14" fmla="*/ 266053 w 319735"/>
                <a:gd name="connsiteY14" fmla="*/ 12608 h 345976"/>
                <a:gd name="connsiteX15" fmla="*/ 182668 w 319735"/>
                <a:gd name="connsiteY15" fmla="*/ 0 h 345976"/>
                <a:gd name="connsiteX16" fmla="*/ 0 w 319735"/>
                <a:gd name="connsiteY16" fmla="*/ 179150 h 345976"/>
                <a:gd name="connsiteX17" fmla="*/ 178750 w 319735"/>
                <a:gd name="connsiteY17" fmla="*/ 345977 h 345976"/>
                <a:gd name="connsiteX18" fmla="*/ 242682 w 319735"/>
                <a:gd name="connsiteY18" fmla="*/ 338580 h 345976"/>
                <a:gd name="connsiteX19" fmla="*/ 275865 w 319735"/>
                <a:gd name="connsiteY19" fmla="*/ 334111 h 345976"/>
                <a:gd name="connsiteX20" fmla="*/ 280733 w 319735"/>
                <a:gd name="connsiteY20" fmla="*/ 333959 h 345976"/>
                <a:gd name="connsiteX21" fmla="*/ 291458 w 319735"/>
                <a:gd name="connsiteY21" fmla="*/ 334206 h 345976"/>
                <a:gd name="connsiteX22" fmla="*/ 296345 w 319735"/>
                <a:gd name="connsiteY22" fmla="*/ 334681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19735" h="345976">
                  <a:moveTo>
                    <a:pt x="319735" y="268620"/>
                  </a:moveTo>
                  <a:lnTo>
                    <a:pt x="293455" y="268943"/>
                  </a:lnTo>
                  <a:lnTo>
                    <a:pt x="292143" y="270750"/>
                  </a:lnTo>
                  <a:cubicBezTo>
                    <a:pt x="265520" y="303533"/>
                    <a:pt x="237700" y="316863"/>
                    <a:pt x="193260" y="318290"/>
                  </a:cubicBezTo>
                  <a:cubicBezTo>
                    <a:pt x="163614" y="319355"/>
                    <a:pt x="136345" y="308382"/>
                    <a:pt x="114134" y="286875"/>
                  </a:cubicBezTo>
                  <a:cubicBezTo>
                    <a:pt x="84678" y="258351"/>
                    <a:pt x="67792" y="214215"/>
                    <a:pt x="67792" y="165743"/>
                  </a:cubicBezTo>
                  <a:cubicBezTo>
                    <a:pt x="67792" y="81883"/>
                    <a:pt x="114724" y="25538"/>
                    <a:pt x="184588" y="25538"/>
                  </a:cubicBezTo>
                  <a:cubicBezTo>
                    <a:pt x="233612" y="25538"/>
                    <a:pt x="274534" y="47103"/>
                    <a:pt x="291382" y="81864"/>
                  </a:cubicBezTo>
                  <a:lnTo>
                    <a:pt x="292675" y="84412"/>
                  </a:lnTo>
                  <a:lnTo>
                    <a:pt x="314449" y="84070"/>
                  </a:lnTo>
                  <a:lnTo>
                    <a:pt x="312338" y="14851"/>
                  </a:lnTo>
                  <a:lnTo>
                    <a:pt x="294482" y="14851"/>
                  </a:lnTo>
                  <a:lnTo>
                    <a:pt x="293550" y="15479"/>
                  </a:lnTo>
                  <a:cubicBezTo>
                    <a:pt x="291498" y="16674"/>
                    <a:pt x="289125" y="17199"/>
                    <a:pt x="286761" y="16981"/>
                  </a:cubicBezTo>
                  <a:cubicBezTo>
                    <a:pt x="282559" y="16829"/>
                    <a:pt x="275352" y="15080"/>
                    <a:pt x="266053" y="12608"/>
                  </a:cubicBezTo>
                  <a:cubicBezTo>
                    <a:pt x="246999" y="7606"/>
                    <a:pt x="218114" y="0"/>
                    <a:pt x="182668" y="0"/>
                  </a:cubicBezTo>
                  <a:cubicBezTo>
                    <a:pt x="56478" y="0"/>
                    <a:pt x="0" y="89965"/>
                    <a:pt x="0" y="179150"/>
                  </a:cubicBezTo>
                  <a:cubicBezTo>
                    <a:pt x="0" y="280486"/>
                    <a:pt x="70169" y="345977"/>
                    <a:pt x="178750" y="345977"/>
                  </a:cubicBezTo>
                  <a:cubicBezTo>
                    <a:pt x="203015" y="345977"/>
                    <a:pt x="224940" y="341888"/>
                    <a:pt x="242682" y="338580"/>
                  </a:cubicBezTo>
                  <a:cubicBezTo>
                    <a:pt x="254643" y="336336"/>
                    <a:pt x="266167" y="334320"/>
                    <a:pt x="275865" y="334111"/>
                  </a:cubicBezTo>
                  <a:cubicBezTo>
                    <a:pt x="277995" y="334111"/>
                    <a:pt x="279478" y="334111"/>
                    <a:pt x="280733" y="333959"/>
                  </a:cubicBezTo>
                  <a:cubicBezTo>
                    <a:pt x="284310" y="333862"/>
                    <a:pt x="287889" y="333944"/>
                    <a:pt x="291458" y="334206"/>
                  </a:cubicBezTo>
                  <a:lnTo>
                    <a:pt x="296345" y="334681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4255226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1517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5376672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35902" y="1775816"/>
            <a:ext cx="5376672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302F7CF9-3808-4FAC-A2AD-857FB49C24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82849BF-9627-4B9D-B45F-DF9EA00C6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71D0D9E-3DC9-4E2B-9FFE-4B2173ADA3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30. Ma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94477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315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3429000" cy="450799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6BE4A926-AC5D-49C3-9830-7F085AE6235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381498" y="1775816"/>
            <a:ext cx="3429000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Content Placeholder 24">
            <a:extLst>
              <a:ext uri="{FF2B5EF4-FFF2-40B4-BE49-F238E27FC236}">
                <a16:creationId xmlns:a16="http://schemas.microsoft.com/office/drawing/2014/main" id="{9465C315-DE63-4BE4-B773-D3D21AE0B92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83574" y="1775816"/>
            <a:ext cx="3429000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Fußzeilenplatzhalter 2">
            <a:extLst>
              <a:ext uri="{FF2B5EF4-FFF2-40B4-BE49-F238E27FC236}">
                <a16:creationId xmlns:a16="http://schemas.microsoft.com/office/drawing/2014/main" id="{79976EBA-0A92-4606-99D0-F0AC6AA964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6" name="Titelplatzhalter 1">
            <a:extLst>
              <a:ext uri="{FF2B5EF4-FFF2-40B4-BE49-F238E27FC236}">
                <a16:creationId xmlns:a16="http://schemas.microsoft.com/office/drawing/2014/main" id="{1233CE2D-A1B7-4CB1-A9D0-F8338F5B1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7" name="Datumsplatzhalter 3">
            <a:extLst>
              <a:ext uri="{FF2B5EF4-FFF2-40B4-BE49-F238E27FC236}">
                <a16:creationId xmlns:a16="http://schemas.microsoft.com/office/drawing/2014/main" id="{C018ABCD-83A3-4AF2-B239-30DE9D535E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30. Ma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9596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8165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771179E9-2FFE-4B62-BED1-283D5D0E3D9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79424" y="4226408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Content Placeholder 24">
            <a:extLst>
              <a:ext uri="{FF2B5EF4-FFF2-40B4-BE49-F238E27FC236}">
                <a16:creationId xmlns:a16="http://schemas.microsoft.com/office/drawing/2014/main" id="{0DE5EC1E-5F7C-4A11-AF53-5D6E651261C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35902" y="1775816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Content Placeholder 24">
            <a:extLst>
              <a:ext uri="{FF2B5EF4-FFF2-40B4-BE49-F238E27FC236}">
                <a16:creationId xmlns:a16="http://schemas.microsoft.com/office/drawing/2014/main" id="{A779FED6-9D90-48D0-81EE-BE1C812B2B2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5902" y="4226408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Fußzeilenplatzhalter 2">
            <a:extLst>
              <a:ext uri="{FF2B5EF4-FFF2-40B4-BE49-F238E27FC236}">
                <a16:creationId xmlns:a16="http://schemas.microsoft.com/office/drawing/2014/main" id="{2F64DA2F-BCE5-4C99-B2FC-71E06333BF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C828139E-1907-4C63-AA91-1348A02A0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5" name="Datumsplatzhalter 3">
            <a:extLst>
              <a:ext uri="{FF2B5EF4-FFF2-40B4-BE49-F238E27FC236}">
                <a16:creationId xmlns:a16="http://schemas.microsoft.com/office/drawing/2014/main" id="{06AA966B-4C9B-400D-8EAA-147EAC9550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30. Ma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22512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75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8193024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152254" y="1775816"/>
            <a:ext cx="2560320" cy="4507992"/>
          </a:xfrm>
          <a:solidFill>
            <a:schemeClr val="accent2"/>
          </a:solidFill>
        </p:spPr>
        <p:txBody>
          <a:bodyPr lIns="91440" tIns="91440" rIns="91440" bIns="9144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475450F1-1435-4FD8-ADA9-BDD59E6E9C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A2B98CAE-6616-45BA-89B1-499348B17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3E69364D-5D00-4D56-AB4B-CEB6EE2795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30. Ma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2202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7252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519550" y="1775816"/>
            <a:ext cx="8193024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4" y="1775816"/>
            <a:ext cx="2560320" cy="4507992"/>
          </a:xfrm>
          <a:solidFill>
            <a:schemeClr val="accent2"/>
          </a:solidFill>
        </p:spPr>
        <p:txBody>
          <a:bodyPr lIns="91440" tIns="91440" rIns="91440" bIns="9144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EB9185CA-DE49-4CC0-A3E2-8B0BBF76B6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2638C495-AEA3-4F09-8D22-63F2D3CBE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19031D0D-215B-45C0-92C0-EA9A0051B78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30. Ma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3355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3844891-8C1B-4E02-AD45-17416960A509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93539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3844891-8C1B-4E02-AD45-17416960A5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95B9F01-70CA-4D9D-8A9C-96F608CE009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1DBD1DE-18F5-426C-9C49-F77C7A226D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F398098-3156-4E50-8376-5CE946BFEE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30. Mai 2025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1D8664A-09DF-4842-9741-FCBC97564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DBFF12E-FE65-426B-B950-15D901AE50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3" y="1775815"/>
            <a:ext cx="11233150" cy="45106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…</a:t>
            </a:r>
          </a:p>
          <a:p>
            <a:pPr lvl="3"/>
            <a:r>
              <a:rPr lang="de-DE" dirty="0"/>
              <a:t>…</a:t>
            </a:r>
          </a:p>
          <a:p>
            <a:pPr lvl="2"/>
            <a:r>
              <a:rPr lang="de-DE" dirty="0"/>
              <a:t>…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BCF952A-07E9-445D-95D0-59EAFD2241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Senacor Technologies AG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52B7F62B-8F90-43D8-9C4B-957A7ED49EC3}"/>
              </a:ext>
            </a:extLst>
          </p:cNvPr>
          <p:cNvGrpSpPr/>
          <p:nvPr userDrawn="1"/>
        </p:nvGrpSpPr>
        <p:grpSpPr>
          <a:xfrm>
            <a:off x="10240056" y="330434"/>
            <a:ext cx="1472671" cy="212964"/>
            <a:chOff x="10240056" y="330434"/>
            <a:chExt cx="1472671" cy="212964"/>
          </a:xfrm>
        </p:grpSpPr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E561B6F5-581F-40A2-A8C8-2F2DF8939BE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0F7C4E8C-A527-47C2-AA6E-06D39942108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FA2C46B-B400-4947-986C-BE8E0F44BF74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B789AC03-E85A-4590-82EF-C418EDFEBFF9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8EC5F2AF-50F7-42C0-BF67-59E29629103A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0826DB0-AD3B-474C-AFA7-1A3A9030BA8D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819807EA-3F8A-486D-ADCB-6F9574397D4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920568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77" r:id="rId2"/>
    <p:sldLayoutId id="2147483678" r:id="rId3"/>
    <p:sldLayoutId id="2147483661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 baseline="0">
          <a:solidFill>
            <a:schemeClr val="tx1"/>
          </a:solidFill>
          <a:latin typeface="+mn-lt"/>
          <a:ea typeface="Malgun Gothic Semilight" panose="020B0502040204020203" pitchFamily="34" charset="-128"/>
          <a:cs typeface="Malgun Gothic Semilight" panose="020B0502040204020203" pitchFamily="34" charset="-128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spcAft>
          <a:spcPts val="800"/>
        </a:spcAft>
        <a:buFont typeface="Wingdings" panose="05000000000000000000" pitchFamily="2" charset="2"/>
        <a:buNone/>
        <a:defRPr sz="1600" b="1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36576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715963" indent="-179388" algn="l" defTabSz="914400" rtl="0" eaLnBrk="1" latinLnBrk="0" hangingPunct="1">
        <a:lnSpc>
          <a:spcPct val="100000"/>
        </a:lnSpc>
        <a:spcBef>
          <a:spcPts val="4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60" userDrawn="1">
          <p15:clr>
            <a:srgbClr val="F26B43"/>
          </p15:clr>
        </p15:guide>
        <p15:guide id="3" pos="7378">
          <p15:clr>
            <a:srgbClr val="F26B43"/>
          </p15:clr>
        </p15:guide>
        <p15:guide id="5" pos="302">
          <p15:clr>
            <a:srgbClr val="F26B43"/>
          </p15:clr>
        </p15:guide>
        <p15:guide id="6" orient="horz" pos="111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 descr="Male profile outline">
            <a:extLst>
              <a:ext uri="{FF2B5EF4-FFF2-40B4-BE49-F238E27FC236}">
                <a16:creationId xmlns:a16="http://schemas.microsoft.com/office/drawing/2014/main" id="{1B390B4F-61BA-4ECC-A43C-EAF75E003ED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105" r="9105"/>
          <a:stretch/>
        </p:blipFill>
        <p:spPr/>
      </p:pic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50CBA42-791E-4851-9FB4-39A223136DC3}" type="slidenum">
              <a:rPr lang="de-DE" smtClean="0"/>
              <a:t>1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MANAGING CONSULTAN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Senacor Technologies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617C13-86F7-470E-8828-65CC1372C3B0}" type="datetime4">
              <a:rPr lang="de-DE" smtClean="0"/>
              <a:t>30. Mai 202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x Mustermann</a:t>
            </a:r>
            <a:endParaRPr lang="de-DE" dirty="0"/>
          </a:p>
        </p:txBody>
      </p:sp>
      <p:sp>
        <p:nvSpPr>
          <p:cNvPr id="8" name="Content Placeholder 16">
            <a:extLst>
              <a:ext uri="{FF2B5EF4-FFF2-40B4-BE49-F238E27FC236}">
                <a16:creationId xmlns:a16="http://schemas.microsoft.com/office/drawing/2014/main" id="{66B53BDA-FA17-4EA1-AD63-5F0F3027D005}"/>
              </a:ext>
            </a:extLst>
          </p:cNvPr>
          <p:cNvSpPr txBox="1">
            <a:spLocks noChangeAspect="1"/>
          </p:cNvSpPr>
          <p:nvPr/>
        </p:nvSpPr>
        <p:spPr>
          <a:xfrm>
            <a:off x="6335900" y="1775816"/>
            <a:ext cx="5376673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jekterfahrung (Auszug)</a:t>
            </a:r>
          </a:p>
          <a:p>
            <a:pPr lvl="2"/>
            <a:r>
              <a:rPr lang="de-DE" dirty="0"/>
              <a:t>Team-Leitung für die Digitalisierung der Nachlass-und Pfändungsprozesse. Aufbau von neuen </a:t>
            </a:r>
            <a:r>
              <a:rPr lang="de-DE" dirty="0" err="1"/>
              <a:t>Frontends</a:t>
            </a:r>
            <a:r>
              <a:rPr lang="de-DE" dirty="0"/>
              <a:t>/APIs für das </a:t>
            </a:r>
            <a:r>
              <a:rPr lang="de-DE" dirty="0" err="1"/>
              <a:t>Direct</a:t>
            </a:r>
            <a:r>
              <a:rPr lang="de-DE" dirty="0"/>
              <a:t> Banking sowie Implementierung einer ETL-Plattform zur Datenmigration im Rahmen der Ablösung des bestandsführenden System zur Pfändungsbearbeitung für die Commerzbank AG: Solution Architekt/Team Lead</a:t>
            </a:r>
          </a:p>
          <a:p>
            <a:pPr lvl="2"/>
            <a:r>
              <a:rPr lang="de-DE" dirty="0"/>
              <a:t>Entwicklung funktionale und technische Zielarchitektur für die neue IT-Landschaft sowie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r>
              <a:rPr lang="de-DE" dirty="0"/>
              <a:t> Middleware zur Systemintegration von CRM und Provisionsabrechnung für die </a:t>
            </a:r>
            <a:r>
              <a:rPr lang="de-DE" dirty="0" err="1"/>
              <a:t>Bonnfinanz</a:t>
            </a:r>
            <a:r>
              <a:rPr lang="de-DE" dirty="0"/>
              <a:t> AG: Solution Architekt/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endParaRPr lang="de-DE" dirty="0"/>
          </a:p>
          <a:p>
            <a:pPr lvl="2"/>
            <a:r>
              <a:rPr lang="de-DE" dirty="0"/>
              <a:t>Mitarbeit am Aufbau einer neuen Abteilung für das Enterprise Architektur Management zur Steuerung der Digitalisierungsinitiativen im Kreditbereich für die Commerzbank AG: Enterprise Architekt</a:t>
            </a:r>
          </a:p>
          <a:p>
            <a:pPr lvl="2"/>
            <a:r>
              <a:rPr lang="de-DE" dirty="0"/>
              <a:t>Leitung Modellierung und Systemdesign für die Einführung einer neuen digitalen Multi-Channel Ratenkreditantragsstrecke für die Commerzbank AG: Business Analyst/Solution Architekt</a:t>
            </a:r>
          </a:p>
          <a:p>
            <a:pPr lvl="2"/>
            <a:r>
              <a:rPr lang="de-DE" dirty="0"/>
              <a:t>Funktionale Modellierung von Systemkomponenten für das Multi-Channel Banking zur Digitalisierung verschiedener Prozesse für die Commerzbank AG: Business Analyst</a:t>
            </a:r>
          </a:p>
          <a:p>
            <a:pPr lvl="2"/>
            <a:endParaRPr lang="de-DE" dirty="0"/>
          </a:p>
          <a:p>
            <a:pPr lvl="2"/>
            <a:endParaRPr lang="de-DE" dirty="0"/>
          </a:p>
        </p:txBody>
      </p:sp>
      <p:sp>
        <p:nvSpPr>
          <p:cNvPr id="9" name="Content Placeholder 16">
            <a:extLst>
              <a:ext uri="{FF2B5EF4-FFF2-40B4-BE49-F238E27FC236}">
                <a16:creationId xmlns:a16="http://schemas.microsoft.com/office/drawing/2014/main" id="{EFCA1139-0B70-4373-BA47-9DCF18A67C2A}"/>
              </a:ext>
            </a:extLst>
          </p:cNvPr>
          <p:cNvSpPr txBox="1">
            <a:spLocks noChangeAspect="1"/>
          </p:cNvSpPr>
          <p:nvPr/>
        </p:nvSpPr>
        <p:spPr>
          <a:xfrm>
            <a:off x="2402650" y="1775816"/>
            <a:ext cx="3453446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okus</a:t>
            </a:r>
          </a:p>
          <a:p>
            <a:pPr lvl="2"/>
            <a:r>
              <a:rPr lang="de-DE" dirty="0"/>
              <a:t>Enterprise/Fachliche Zielarchitektur</a:t>
            </a:r>
          </a:p>
          <a:p>
            <a:pPr lvl="2"/>
            <a:r>
              <a:rPr lang="de-DE" dirty="0"/>
              <a:t>Analyse und Modellierung von IT- und Geschäftsprozessen</a:t>
            </a:r>
          </a:p>
          <a:p>
            <a:pPr lvl="2"/>
            <a:r>
              <a:rPr lang="de-DE" dirty="0"/>
              <a:t>Branchenfokus: Retail Banking und Versicherungen</a:t>
            </a:r>
          </a:p>
          <a:p>
            <a:pPr lvl="2"/>
            <a:endParaRPr lang="de-DE" dirty="0"/>
          </a:p>
        </p:txBody>
      </p:sp>
      <p:sp>
        <p:nvSpPr>
          <p:cNvPr id="10" name="Content Placeholder 17">
            <a:extLst>
              <a:ext uri="{FF2B5EF4-FFF2-40B4-BE49-F238E27FC236}">
                <a16:creationId xmlns:a16="http://schemas.microsoft.com/office/drawing/2014/main" id="{DA9E50F1-517B-400A-B2A2-F9990055DE70}"/>
              </a:ext>
            </a:extLst>
          </p:cNvPr>
          <p:cNvSpPr txBox="1">
            <a:spLocks noChangeAspect="1"/>
          </p:cNvSpPr>
          <p:nvPr/>
        </p:nvSpPr>
        <p:spPr>
          <a:xfrm>
            <a:off x="479424" y="4226408"/>
            <a:ext cx="5376672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usbildung und berufliche Erfahrung</a:t>
            </a:r>
          </a:p>
          <a:p>
            <a:pPr lvl="2"/>
            <a:r>
              <a:rPr lang="de-DE" dirty="0"/>
              <a:t>Managing Consultant, Senacor Technologies AG (seit 2015)</a:t>
            </a:r>
          </a:p>
          <a:p>
            <a:pPr lvl="2"/>
            <a:r>
              <a:rPr lang="de-DE" dirty="0"/>
              <a:t>Business Analyst (2014-2015)</a:t>
            </a:r>
          </a:p>
          <a:p>
            <a:pPr lvl="2"/>
            <a:r>
              <a:rPr lang="de-DE" dirty="0"/>
              <a:t>M.Sc. in Wirtschaftsinformatik (2014)</a:t>
            </a:r>
          </a:p>
          <a:p>
            <a:pPr lvl="2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9097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Male profile outline">
            <a:extLst>
              <a:ext uri="{FF2B5EF4-FFF2-40B4-BE49-F238E27FC236}">
                <a16:creationId xmlns:a16="http://schemas.microsoft.com/office/drawing/2014/main" id="{86BD603C-3F61-4AEC-9EB2-9737417DA37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105" r="9105"/>
          <a:stretch/>
        </p:blipFill>
        <p:spPr/>
      </p:pic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50CBA42-791E-4851-9FB4-39A223136DC3}" type="slidenum">
              <a:rPr lang="de-DE" smtClean="0"/>
              <a:t>2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MANAGING CONSULTAN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Senacor Technologies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617C13-86F7-470E-8828-65CC1372C3B0}" type="datetime4">
              <a:rPr lang="de-DE" smtClean="0"/>
              <a:t>30. Mai 202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x Mustermann</a:t>
            </a:r>
          </a:p>
        </p:txBody>
      </p:sp>
      <p:sp>
        <p:nvSpPr>
          <p:cNvPr id="8" name="Content Placeholder 16">
            <a:extLst>
              <a:ext uri="{FF2B5EF4-FFF2-40B4-BE49-F238E27FC236}">
                <a16:creationId xmlns:a16="http://schemas.microsoft.com/office/drawing/2014/main" id="{66B53BDA-FA17-4EA1-AD63-5F0F3027D005}"/>
              </a:ext>
            </a:extLst>
          </p:cNvPr>
          <p:cNvSpPr txBox="1">
            <a:spLocks noChangeAspect="1"/>
          </p:cNvSpPr>
          <p:nvPr/>
        </p:nvSpPr>
        <p:spPr>
          <a:xfrm>
            <a:off x="6335900" y="1775816"/>
            <a:ext cx="5376673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jekterfahrung (Auszug)</a:t>
            </a:r>
          </a:p>
          <a:p>
            <a:pPr lvl="2"/>
            <a:r>
              <a:rPr lang="de-DE" dirty="0"/>
              <a:t>Team-Leitung für die Digitalisierung der Nachlass-und Pfändungsprozesse. Aufbau von neuen </a:t>
            </a:r>
            <a:r>
              <a:rPr lang="de-DE" dirty="0" err="1"/>
              <a:t>Frontends</a:t>
            </a:r>
            <a:r>
              <a:rPr lang="de-DE" dirty="0"/>
              <a:t>/APIs für das </a:t>
            </a:r>
            <a:r>
              <a:rPr lang="de-DE" dirty="0" err="1"/>
              <a:t>Direct</a:t>
            </a:r>
            <a:r>
              <a:rPr lang="de-DE" dirty="0"/>
              <a:t> Banking sowie Implementierung einer ETL-Plattform zur Datenmigration im Rahmen der Ablösung des bestandsführenden System zur Pfändungsbearbeitung bei einer deutschlandweit führenden Universalbank: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endParaRPr lang="de-DE" dirty="0"/>
          </a:p>
          <a:p>
            <a:pPr lvl="2"/>
            <a:r>
              <a:rPr lang="de-DE" dirty="0"/>
              <a:t>Entwicklung funktionale und technische Zielarchitektur der neuen IT-Landschaft sowie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r>
              <a:rPr lang="de-DE" dirty="0"/>
              <a:t> der Middleware zur Systemintegration von CRM und Provisionsabrechnung bei einem in Deutschland operierenden Finanzdienstleister: Solution Architekt/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Aufbau einer neuen Abteilung für das Enterprise Architektur Management zur Steuerung der Digitalisierungsinitiativen im Kreditbereich bei einer deutschlandweit führenden Universalbank: Enterprise Architekt</a:t>
            </a:r>
          </a:p>
          <a:p>
            <a:pPr lvl="2"/>
            <a:r>
              <a:rPr lang="de-DE" dirty="0"/>
              <a:t>Leitung Modellierung und Systemdesign für die Einführung einer neuen digitalen Multi-Channel Ratenkreditantragsstrecke bei einer deutschlandweit führenden Universalbank: Business Analyst</a:t>
            </a:r>
          </a:p>
          <a:p>
            <a:pPr lvl="2"/>
            <a:r>
              <a:rPr lang="de-DE" dirty="0"/>
              <a:t>Funktionale Modellierung von Systemkomponenten für das Multi-Channel Banking zur Digitalisierung verschiedener Prozesse im bei einer deutschlandweit führenden Universalbank: Business Analyst</a:t>
            </a:r>
          </a:p>
          <a:p>
            <a:pPr marL="0" lvl="2" indent="0">
              <a:buNone/>
            </a:pPr>
            <a:endParaRPr lang="de-DE" dirty="0"/>
          </a:p>
          <a:p>
            <a:pPr lvl="2"/>
            <a:endParaRPr lang="de-DE" dirty="0"/>
          </a:p>
        </p:txBody>
      </p:sp>
      <p:sp>
        <p:nvSpPr>
          <p:cNvPr id="9" name="Content Placeholder 16">
            <a:extLst>
              <a:ext uri="{FF2B5EF4-FFF2-40B4-BE49-F238E27FC236}">
                <a16:creationId xmlns:a16="http://schemas.microsoft.com/office/drawing/2014/main" id="{EFCA1139-0B70-4373-BA47-9DCF18A67C2A}"/>
              </a:ext>
            </a:extLst>
          </p:cNvPr>
          <p:cNvSpPr txBox="1">
            <a:spLocks noChangeAspect="1"/>
          </p:cNvSpPr>
          <p:nvPr/>
        </p:nvSpPr>
        <p:spPr>
          <a:xfrm>
            <a:off x="2402650" y="1775816"/>
            <a:ext cx="3453446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okus</a:t>
            </a:r>
          </a:p>
          <a:p>
            <a:pPr lvl="2"/>
            <a:r>
              <a:rPr lang="de-DE" dirty="0"/>
              <a:t>Enterprise/Fachliche Zielarchitektur</a:t>
            </a:r>
          </a:p>
          <a:p>
            <a:pPr lvl="2"/>
            <a:r>
              <a:rPr lang="de-DE" dirty="0"/>
              <a:t>Analyse und Modellierung von IT- und Geschäftsprozessen</a:t>
            </a:r>
          </a:p>
          <a:p>
            <a:pPr lvl="2"/>
            <a:r>
              <a:rPr lang="de-DE" dirty="0"/>
              <a:t>Branchenfokus: Retail Banking und Versicherungen</a:t>
            </a:r>
          </a:p>
          <a:p>
            <a:pPr lvl="2"/>
            <a:endParaRPr lang="de-DE" dirty="0"/>
          </a:p>
        </p:txBody>
      </p:sp>
      <p:sp>
        <p:nvSpPr>
          <p:cNvPr id="10" name="Content Placeholder 17">
            <a:extLst>
              <a:ext uri="{FF2B5EF4-FFF2-40B4-BE49-F238E27FC236}">
                <a16:creationId xmlns:a16="http://schemas.microsoft.com/office/drawing/2014/main" id="{DA9E50F1-517B-400A-B2A2-F9990055DE70}"/>
              </a:ext>
            </a:extLst>
          </p:cNvPr>
          <p:cNvSpPr txBox="1">
            <a:spLocks noChangeAspect="1"/>
          </p:cNvSpPr>
          <p:nvPr/>
        </p:nvSpPr>
        <p:spPr>
          <a:xfrm>
            <a:off x="479424" y="4226408"/>
            <a:ext cx="5376672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usbildung und berufliche Erfahrung</a:t>
            </a:r>
          </a:p>
          <a:p>
            <a:pPr lvl="2"/>
            <a:r>
              <a:rPr lang="de-DE" dirty="0"/>
              <a:t>Managing Consultant, Senacor Technologies AG (seit 2015)</a:t>
            </a:r>
          </a:p>
          <a:p>
            <a:pPr lvl="2"/>
            <a:r>
              <a:rPr lang="de-DE" dirty="0"/>
              <a:t>Business Analyst (2014-2015)</a:t>
            </a:r>
          </a:p>
          <a:p>
            <a:pPr lvl="2"/>
            <a:r>
              <a:rPr lang="de-DE" dirty="0"/>
              <a:t>M.Sc. in Wirtschaftsinformatik (2014)</a:t>
            </a:r>
          </a:p>
          <a:p>
            <a:pPr lvl="2"/>
            <a:endParaRPr lang="de-DE" dirty="0"/>
          </a:p>
          <a:p>
            <a:pPr lvl="2"/>
            <a:endParaRPr lang="de-DE" dirty="0"/>
          </a:p>
        </p:txBody>
      </p:sp>
      <p:sp>
        <p:nvSpPr>
          <p:cNvPr id="11" name="Oval 14">
            <a:extLst>
              <a:ext uri="{FF2B5EF4-FFF2-40B4-BE49-F238E27FC236}">
                <a16:creationId xmlns:a16="http://schemas.microsoft.com/office/drawing/2014/main" id="{E34F12B7-1657-4614-B5B2-E17FC11A381A}"/>
              </a:ext>
            </a:extLst>
          </p:cNvPr>
          <p:cNvSpPr>
            <a:spLocks noChangeAspect="1"/>
          </p:cNvSpPr>
          <p:nvPr/>
        </p:nvSpPr>
        <p:spPr>
          <a:xfrm>
            <a:off x="4817534" y="124833"/>
            <a:ext cx="2556934" cy="563167"/>
          </a:xfrm>
          <a:prstGeom prst="round2Diag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kundenanonyme Fassung</a:t>
            </a:r>
          </a:p>
        </p:txBody>
      </p:sp>
    </p:spTree>
    <p:extLst>
      <p:ext uri="{BB962C8B-B14F-4D97-AF65-F5344CB8AC3E}">
        <p14:creationId xmlns:p14="http://schemas.microsoft.com/office/powerpoint/2010/main" val="39366684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50CBA42-791E-4851-9FB4-39A223136DC3}" type="slidenum">
              <a:rPr lang="de-DE" smtClean="0"/>
              <a:t>3</a:t>
            </a:fld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MANAGING CONSULTANT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Senacor Technologies AG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617C13-86F7-470E-8828-65CC1372C3B0}" type="datetime4">
              <a:rPr lang="de-DE" smtClean="0"/>
              <a:t>30. Mai 2025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x Mustermann</a:t>
            </a:r>
          </a:p>
        </p:txBody>
      </p:sp>
      <p:sp>
        <p:nvSpPr>
          <p:cNvPr id="7" name="Content Placeholder 16">
            <a:extLst>
              <a:ext uri="{FF2B5EF4-FFF2-40B4-BE49-F238E27FC236}">
                <a16:creationId xmlns:a16="http://schemas.microsoft.com/office/drawing/2014/main" id="{D988757D-2107-4A4B-A4A0-FACE60E25B6D}"/>
              </a:ext>
            </a:extLst>
          </p:cNvPr>
          <p:cNvSpPr txBox="1">
            <a:spLocks noChangeAspect="1"/>
          </p:cNvSpPr>
          <p:nvPr/>
        </p:nvSpPr>
        <p:spPr>
          <a:xfrm>
            <a:off x="479424" y="1775816"/>
            <a:ext cx="5376672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rgänzung: Ausbildung und berufliche Erfahrung</a:t>
            </a:r>
          </a:p>
          <a:p>
            <a:pPr marL="0" lvl="2" indent="0">
              <a:buNone/>
            </a:pPr>
            <a:endParaRPr lang="de-DE" dirty="0"/>
          </a:p>
          <a:p>
            <a:pPr lvl="2"/>
            <a:r>
              <a:rPr lang="de-DE" dirty="0"/>
              <a:t>B.Sc. in Wirtschaftsinformatik (2011) </a:t>
            </a:r>
          </a:p>
          <a:p>
            <a:pPr lvl="2"/>
            <a:r>
              <a:rPr lang="de-DE" dirty="0"/>
              <a:t>…</a:t>
            </a:r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marL="0" lvl="2" indent="0">
              <a:buFont typeface="Wingdings" panose="05000000000000000000" pitchFamily="2" charset="2"/>
              <a:buNone/>
            </a:pPr>
            <a:r>
              <a:rPr lang="de-DE" sz="1600" b="1" dirty="0"/>
              <a:t>Ergänzung: </a:t>
            </a:r>
            <a:r>
              <a:rPr lang="de-DE" sz="1600" b="1" dirty="0" err="1"/>
              <a:t>Skill</a:t>
            </a:r>
            <a:r>
              <a:rPr lang="de-DE" sz="1600" b="1" dirty="0"/>
              <a:t> Profil / Tech Stack</a:t>
            </a:r>
          </a:p>
          <a:p>
            <a:pPr lvl="2"/>
            <a:r>
              <a:rPr lang="de-DE" dirty="0"/>
              <a:t>…</a:t>
            </a:r>
          </a:p>
          <a:p>
            <a:pPr lvl="2"/>
            <a:r>
              <a:rPr lang="de-DE" dirty="0"/>
              <a:t>…</a:t>
            </a:r>
          </a:p>
          <a:p>
            <a:pPr lvl="2"/>
            <a:r>
              <a:rPr lang="de-DE" dirty="0"/>
              <a:t>…</a:t>
            </a:r>
          </a:p>
          <a:p>
            <a:pPr lvl="2"/>
            <a:endParaRPr lang="de-DE" dirty="0"/>
          </a:p>
        </p:txBody>
      </p:sp>
      <p:sp>
        <p:nvSpPr>
          <p:cNvPr id="8" name="Content Placeholder 17">
            <a:extLst>
              <a:ext uri="{FF2B5EF4-FFF2-40B4-BE49-F238E27FC236}">
                <a16:creationId xmlns:a16="http://schemas.microsoft.com/office/drawing/2014/main" id="{E9900188-0B45-4979-AF95-2E583F000474}"/>
              </a:ext>
            </a:extLst>
          </p:cNvPr>
          <p:cNvSpPr txBox="1">
            <a:spLocks noChangeAspect="1"/>
          </p:cNvSpPr>
          <p:nvPr/>
        </p:nvSpPr>
        <p:spPr>
          <a:xfrm>
            <a:off x="6335902" y="1775816"/>
            <a:ext cx="5376672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rgänzung: Projekterfahrung</a:t>
            </a:r>
          </a:p>
          <a:p>
            <a:pPr lvl="2"/>
            <a:r>
              <a:rPr lang="de-DE" dirty="0"/>
              <a:t>Grob/Fachkonzeption von Systemkomponenten für die Neuausrichtung der Prozess- und Systemlandschaft in der Absatzplanung und Bestellwesen bei einem Europaweit führenden Automobilkonzern: Business Analyst</a:t>
            </a:r>
          </a:p>
          <a:p>
            <a:pPr lvl="2"/>
            <a:endParaRPr lang="de-DE" dirty="0"/>
          </a:p>
        </p:txBody>
      </p:sp>
      <p:sp>
        <p:nvSpPr>
          <p:cNvPr id="9" name="Oval 14">
            <a:extLst>
              <a:ext uri="{FF2B5EF4-FFF2-40B4-BE49-F238E27FC236}">
                <a16:creationId xmlns:a16="http://schemas.microsoft.com/office/drawing/2014/main" id="{704F7B24-0B55-4027-B954-DE54602212AB}"/>
              </a:ext>
            </a:extLst>
          </p:cNvPr>
          <p:cNvSpPr>
            <a:spLocks noChangeAspect="1"/>
          </p:cNvSpPr>
          <p:nvPr/>
        </p:nvSpPr>
        <p:spPr>
          <a:xfrm>
            <a:off x="4817534" y="124833"/>
            <a:ext cx="2556934" cy="563167"/>
          </a:xfrm>
          <a:prstGeom prst="round2Diag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optionale Ergänzungen</a:t>
            </a:r>
          </a:p>
        </p:txBody>
      </p:sp>
    </p:spTree>
    <p:extLst>
      <p:ext uri="{BB962C8B-B14F-4D97-AF65-F5344CB8AC3E}">
        <p14:creationId xmlns:p14="http://schemas.microsoft.com/office/powerpoint/2010/main" val="30071507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ZWAQJRSzAgrWEOd0mC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heme/theme1.xml><?xml version="1.0" encoding="utf-8"?>
<a:theme xmlns:a="http://schemas.openxmlformats.org/drawingml/2006/main" name="Senacor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accent1"/>
          </a:solidFill>
        </a:ln>
      </a:spPr>
      <a:bodyPr lIns="0" tIns="0" rIns="0" bIns="0" rtlCol="0" anchor="ctr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880" indent="-182880" algn="l">
          <a:spcBef>
            <a:spcPts val="400"/>
          </a:spcBef>
          <a:spcAft>
            <a:spcPts val="400"/>
          </a:spcAft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" id="{6A91F680-BE16-4B69-ABDE-4F5F25FCE78B}" vid="{9F0CFE86-F6CA-4AF3-8C14-953E0DDF0FA5}"/>
    </a:ext>
  </a:extLst>
</a:theme>
</file>

<file path=ppt/theme/theme2.xml><?xml version="1.0" encoding="utf-8"?>
<a:theme xmlns:a="http://schemas.openxmlformats.org/drawingml/2006/main" name="Office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247cc86-41ce-4e54-895f-61d07d03751e" xsi:nil="true"/>
    <lcf76f155ced4ddcb4097134ff3c332f xmlns="c70c37c3-6fe6-4316-bb79-6c535e774478">
      <Terms xmlns="http://schemas.microsoft.com/office/infopath/2007/PartnerControls"/>
    </lcf76f155ced4ddcb4097134ff3c332f>
    <Personen xmlns="c70c37c3-6fe6-4316-bb79-6c535e774478">
      <UserInfo>
        <DisplayName/>
        <AccountId xsi:nil="true"/>
        <AccountType/>
      </UserInfo>
    </Personen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D369A2B9592B44C89D12E69AC892C99" ma:contentTypeVersion="12" ma:contentTypeDescription="Ein neues Dokument erstellen." ma:contentTypeScope="" ma:versionID="c9dab8326fc9122a30f2ddef095df6ab">
  <xsd:schema xmlns:xsd="http://www.w3.org/2001/XMLSchema" xmlns:xs="http://www.w3.org/2001/XMLSchema" xmlns:p="http://schemas.microsoft.com/office/2006/metadata/properties" xmlns:ns2="c70c37c3-6fe6-4316-bb79-6c535e774478" xmlns:ns3="f247cc86-41ce-4e54-895f-61d07d03751e" targetNamespace="http://schemas.microsoft.com/office/2006/metadata/properties" ma:root="true" ma:fieldsID="1b0673540b584560623b52e843080132" ns2:_="" ns3:_="">
    <xsd:import namespace="c70c37c3-6fe6-4316-bb79-6c535e774478"/>
    <xsd:import namespace="f247cc86-41ce-4e54-895f-61d07d0375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Person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0c37c3-6fe6-4316-bb79-6c535e7744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markierungen" ma:readOnly="false" ma:fieldId="{5cf76f15-5ced-4ddc-b409-7134ff3c332f}" ma:taxonomyMulti="true" ma:sspId="3ea49aa2-03d1-4c4a-9f28-6baa57d9157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Personen" ma:index="19" nillable="true" ma:displayName="Personen" ma:format="Dropdown" ma:list="UserInfo" ma:SharePointGroup="0" ma:internalName="Persone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47cc86-41ce-4e54-895f-61d07d03751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1a96274e-1b24-44d9-8f5e-b12b3b3f589b}" ma:internalName="TaxCatchAll" ma:showField="CatchAllData" ma:web="f247cc86-41ce-4e54-895f-61d07d0375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74324EB-C4AB-4800-9C59-8D499280175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96BD85B-CE33-4FA0-A95F-C8BF973244F5}">
  <ds:schemaRefs>
    <ds:schemaRef ds:uri="http://schemas.microsoft.com/office/2006/metadata/properties"/>
    <ds:schemaRef ds:uri="http://schemas.microsoft.com/office/infopath/2007/PartnerControls"/>
    <ds:schemaRef ds:uri="f247cc86-41ce-4e54-895f-61d07d03751e"/>
    <ds:schemaRef ds:uri="c70c37c3-6fe6-4316-bb79-6c535e774478"/>
  </ds:schemaRefs>
</ds:datastoreItem>
</file>

<file path=customXml/itemProps3.xml><?xml version="1.0" encoding="utf-8"?>
<ds:datastoreItem xmlns:ds="http://schemas.openxmlformats.org/officeDocument/2006/customXml" ds:itemID="{25DC136B-DFAF-4FC7-9BB2-3354D236D72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0c37c3-6fe6-4316-bb79-6c535e774478"/>
    <ds:schemaRef ds:uri="f247cc86-41ce-4e54-895f-61d07d0375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enacor</Template>
  <TotalTime>1</TotalTime>
  <Words>458</Words>
  <Application>Microsoft Macintosh PowerPoint</Application>
  <PresentationFormat>Widescreen</PresentationFormat>
  <Paragraphs>59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Symbol</vt:lpstr>
      <vt:lpstr>Wingdings</vt:lpstr>
      <vt:lpstr>Senacor</vt:lpstr>
      <vt:lpstr>think-cell Folie</vt:lpstr>
      <vt:lpstr>Max Mustermann</vt:lpstr>
      <vt:lpstr>Max Mustermann</vt:lpstr>
      <vt:lpstr>Max Musterman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lsässer, Lena</dc:creator>
  <cp:lastModifiedBy>Heinrich, Daniel</cp:lastModifiedBy>
  <cp:revision>24</cp:revision>
  <dcterms:created xsi:type="dcterms:W3CDTF">2020-05-29T06:26:02Z</dcterms:created>
  <dcterms:modified xsi:type="dcterms:W3CDTF">2025-05-30T09:26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369A2B9592B44C89D12E69AC892C99</vt:lpwstr>
  </property>
</Properties>
</file>